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tags/tag9.xml" ContentType="application/vnd.openxmlformats-officedocument.presentationml.tags+xml"/>
  <Override PartName="/ppt/notesSlides/notesSlide7.xml" ContentType="application/vnd.openxmlformats-officedocument.presentationml.notesSlide+xml"/>
  <Override PartName="/ppt/tags/tag10.xml" ContentType="application/vnd.openxmlformats-officedocument.presentationml.tags+xml"/>
  <Override PartName="/ppt/notesSlides/notesSlide8.xml" ContentType="application/vnd.openxmlformats-officedocument.presentationml.notesSlide+xml"/>
  <Override PartName="/ppt/tags/tag11.xml" ContentType="application/vnd.openxmlformats-officedocument.presentationml.tags+xml"/>
  <Override PartName="/ppt/notesSlides/notesSlide9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4"/>
  </p:notesMasterIdLst>
  <p:sldIdLst>
    <p:sldId id="269" r:id="rId2"/>
    <p:sldId id="270" r:id="rId3"/>
    <p:sldId id="271" r:id="rId4"/>
    <p:sldId id="586" r:id="rId5"/>
    <p:sldId id="277" r:id="rId6"/>
    <p:sldId id="592" r:id="rId7"/>
    <p:sldId id="272" r:id="rId8"/>
    <p:sldId id="588" r:id="rId9"/>
    <p:sldId id="594" r:id="rId10"/>
    <p:sldId id="596" r:id="rId11"/>
    <p:sldId id="597" r:id="rId12"/>
    <p:sldId id="598" r:id="rId13"/>
    <p:sldId id="599" r:id="rId14"/>
    <p:sldId id="273" r:id="rId15"/>
    <p:sldId id="600" r:id="rId16"/>
    <p:sldId id="601" r:id="rId17"/>
    <p:sldId id="602" r:id="rId18"/>
    <p:sldId id="603" r:id="rId19"/>
    <p:sldId id="604" r:id="rId20"/>
    <p:sldId id="605" r:id="rId21"/>
    <p:sldId id="585" r:id="rId22"/>
    <p:sldId id="497" r:id="rId23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C232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13" autoAdjust="0"/>
    <p:restoredTop sz="90682" autoAdjust="0"/>
  </p:normalViewPr>
  <p:slideViewPr>
    <p:cSldViewPr snapToGrid="0">
      <p:cViewPr>
        <p:scale>
          <a:sx n="50" d="100"/>
          <a:sy n="50" d="100"/>
        </p:scale>
        <p:origin x="2563" y="581"/>
      </p:cViewPr>
      <p:guideLst/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FDA9419-BEE4-44AD-8E60-A02B41E9A84D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3291A8-5A9B-4ED5-B943-6A1119F630F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93304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925B17-9D05-465B-B47E-FBD2CE447C1C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70259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3C0F2BB-195B-475C-89DD-9A3483B6C545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062550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604962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15505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604894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89976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802628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29115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184171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E3291A8-5A9B-4ED5-B943-6A1119F630F1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60311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DF39BAC1-CE2A-408A-93C4-992418609F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>
            <a:extLst>
              <a:ext uri="{FF2B5EF4-FFF2-40B4-BE49-F238E27FC236}">
                <a16:creationId xmlns:a16="http://schemas.microsoft.com/office/drawing/2014/main" id="{2850481C-5259-4293-996A-464457275E7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0DB7222-3198-422B-8FDC-6B4218EEC6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0F9C3A6-77B1-4518-9517-E784F2DB6F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5AE5083-DFE7-43B9-AD77-E0528DD1B5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981491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2D875021-0A68-4703-A3FA-C38925B0BE6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D8F2AA87-958D-4F69-9722-9CBC2FE8E72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7938FD76-F2D2-4269-9673-6E482D7C61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BC3A6A20-ECF7-4EBB-B103-45F0CA7114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2B1DD65D-9A26-4EA8-B52E-B6B2AB992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32522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>
            <a:extLst>
              <a:ext uri="{FF2B5EF4-FFF2-40B4-BE49-F238E27FC236}">
                <a16:creationId xmlns:a16="http://schemas.microsoft.com/office/drawing/2014/main" id="{898FD520-E61B-42D9-9356-836758EE421C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>
            <a:extLst>
              <a:ext uri="{FF2B5EF4-FFF2-40B4-BE49-F238E27FC236}">
                <a16:creationId xmlns:a16="http://schemas.microsoft.com/office/drawing/2014/main" id="{1A3052A5-6CC3-4076-849C-D9E74753D3D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F0DAC40-0393-4970-BDE5-FBD6FC0CCC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B52415E-4883-41BF-8456-A611720E4A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FC73A0C3-3EEA-424A-B31C-59A1FCC5E8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3920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(9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B5954375-EACA-7B8B-65A4-EC8EA965285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5000" y="635000"/>
            <a:ext cx="1069474" cy="50800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>
                <a:noFill/>
              </a:defRPr>
            </a:lvl1pPr>
          </a:lstStyle>
          <a:p>
            <a:endParaRPr lang="en-UA"/>
          </a:p>
        </p:txBody>
      </p:sp>
    </p:spTree>
    <p:extLst>
      <p:ext uri="{BB962C8B-B14F-4D97-AF65-F5344CB8AC3E}">
        <p14:creationId xmlns:p14="http://schemas.microsoft.com/office/powerpoint/2010/main" val="3428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81024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push/>
      </p:transition>
    </mc:Choice>
    <mc:Fallback xmlns="">
      <p:transition spd="slow">
        <p:push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E9E9A75-1E97-4764-9DD0-9AF7C87AED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E34ACAB9-4B90-4161-8D18-1230B6573A4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C280CBED-006E-4E9D-8E90-6CC88D62396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F063E2-A8B4-4591-B198-468580B9D6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1862E877-FDB1-4ADF-A6D8-3EF8EBF518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57415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4EAB5A7-86D9-4497-A7C0-D76A46057C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1666403B-B592-4494-838C-F66AA6DA8B2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5B67B80-F9F1-46B9-ADF6-34C529EEF27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663903F-70A3-47BC-B22D-7B8E1ED16F2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E6401EC5-53EC-4BC7-ABEA-FAEE2C88E63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55452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67136C4-4886-4426-B5C2-D3AC442C2E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5B34AC48-7FE1-4BBA-9626-7390BA3722AF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1DEF8377-367F-4557-B993-DBCC89CF26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8CDECB1D-2946-4BE5-A521-52D5B54755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4504E00-174C-4718-A754-99322E1144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D161EBD4-E581-40BE-A3E2-283CC976A6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90365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11F8100-EB0D-4DCC-A828-0398559280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94271C3D-9D3E-43D2-973F-70FDBF32AF5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>
            <a:extLst>
              <a:ext uri="{FF2B5EF4-FFF2-40B4-BE49-F238E27FC236}">
                <a16:creationId xmlns:a16="http://schemas.microsoft.com/office/drawing/2014/main" id="{CA7D28DA-0DAC-40E1-BEDB-775A4603FD3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7E86B04-09C6-48C6-BA2B-1A477DBC504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>
            <a:extLst>
              <a:ext uri="{FF2B5EF4-FFF2-40B4-BE49-F238E27FC236}">
                <a16:creationId xmlns:a16="http://schemas.microsoft.com/office/drawing/2014/main" id="{E47D6743-AFCF-4530-BDB6-DBF0C62137F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>
            <a:extLst>
              <a:ext uri="{FF2B5EF4-FFF2-40B4-BE49-F238E27FC236}">
                <a16:creationId xmlns:a16="http://schemas.microsoft.com/office/drawing/2014/main" id="{8A24D5FA-9203-431F-8AF7-6DA2879428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8" name="Нижний колонтитул 7">
            <a:extLst>
              <a:ext uri="{FF2B5EF4-FFF2-40B4-BE49-F238E27FC236}">
                <a16:creationId xmlns:a16="http://schemas.microsoft.com/office/drawing/2014/main" id="{5F382319-3333-4D0A-8FA3-848DC971CA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>
            <a:extLst>
              <a:ext uri="{FF2B5EF4-FFF2-40B4-BE49-F238E27FC236}">
                <a16:creationId xmlns:a16="http://schemas.microsoft.com/office/drawing/2014/main" id="{9DA0B972-6D74-4808-97F7-17BB6AAD9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1702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B2C9D25-B28A-42C5-8CC3-6F6EBC66E2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1BB98F01-3439-4EC1-A295-A1651307F4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E5E588F3-81EB-49E2-98BD-717F3BA70F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77D84451-41EF-4DF4-8413-AA12C3489D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2514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>
            <a:extLst>
              <a:ext uri="{FF2B5EF4-FFF2-40B4-BE49-F238E27FC236}">
                <a16:creationId xmlns:a16="http://schemas.microsoft.com/office/drawing/2014/main" id="{0D4DB3FF-0CD3-483E-9DE0-69A09FE27C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3" name="Нижний колонтитул 2">
            <a:extLst>
              <a:ext uri="{FF2B5EF4-FFF2-40B4-BE49-F238E27FC236}">
                <a16:creationId xmlns:a16="http://schemas.microsoft.com/office/drawing/2014/main" id="{5B864154-D44C-47AD-A150-33D3F7F0AB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>
            <a:extLst>
              <a:ext uri="{FF2B5EF4-FFF2-40B4-BE49-F238E27FC236}">
                <a16:creationId xmlns:a16="http://schemas.microsoft.com/office/drawing/2014/main" id="{B3EDA63C-4516-4AC6-BD52-4A7CE1BA1D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84137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BEC9B35-E8D6-4DCD-B328-EC49F0CC6D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>
            <a:extLst>
              <a:ext uri="{FF2B5EF4-FFF2-40B4-BE49-F238E27FC236}">
                <a16:creationId xmlns:a16="http://schemas.microsoft.com/office/drawing/2014/main" id="{2C17DC44-053B-4D26-96AA-2A89674E91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490B1120-C2A7-4245-AA51-615C38D2380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B7ED65FC-3E5B-4AED-83BC-8200A20940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D5783399-D41B-4516-A091-F9EAC8124A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E4B143B3-B87B-4526-8D6F-5D8911602A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282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9DAD6B6C-8909-448D-8677-B6D5A38BA0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>
            <a:extLst>
              <a:ext uri="{FF2B5EF4-FFF2-40B4-BE49-F238E27FC236}">
                <a16:creationId xmlns:a16="http://schemas.microsoft.com/office/drawing/2014/main" id="{696F4FAD-D297-4D36-B162-D1893210F6D1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>
            <a:extLst>
              <a:ext uri="{FF2B5EF4-FFF2-40B4-BE49-F238E27FC236}">
                <a16:creationId xmlns:a16="http://schemas.microsoft.com/office/drawing/2014/main" id="{E89583E4-5589-477A-9F2E-B89FBB40984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>
            <a:extLst>
              <a:ext uri="{FF2B5EF4-FFF2-40B4-BE49-F238E27FC236}">
                <a16:creationId xmlns:a16="http://schemas.microsoft.com/office/drawing/2014/main" id="{C2DA5974-E321-4C5E-AB14-7D1918E6B2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FCE64EAC-8B0E-4780-9BCD-4F8B21B844E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F3CB3FE6-4239-4A52-A0EA-40816508EE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032190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705EDA0-6493-406C-BA0D-34E838E81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5EEB6DB6-A3C3-41FF-9079-CEC5CA6751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24D2D17-BF3D-491C-9ABE-4C86CF60364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DC510D-E530-478D-A2B0-3FDB14A992BC}" type="datetimeFigureOut">
              <a:rPr lang="ru-RU" smtClean="0"/>
              <a:t>16.09.2023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A6451245-FBB0-44E4-8C3C-29B785CBEA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0ED358F5-00C9-4E3A-A225-00C619D90C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74C2471-1234-4819-9480-3F0BA712387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27555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svg"/><Relationship Id="rId3" Type="http://schemas.openxmlformats.org/officeDocument/2006/relationships/image" Target="../media/image29.png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11.svg"/><Relationship Id="rId11" Type="http://schemas.openxmlformats.org/officeDocument/2006/relationships/image" Target="../media/image16.svg"/><Relationship Id="rId5" Type="http://schemas.openxmlformats.org/officeDocument/2006/relationships/image" Target="../media/image10.png"/><Relationship Id="rId10" Type="http://schemas.openxmlformats.org/officeDocument/2006/relationships/image" Target="../media/image15.png"/><Relationship Id="rId4" Type="http://schemas.openxmlformats.org/officeDocument/2006/relationships/image" Target="../media/image30.svg"/><Relationship Id="rId9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11.svg"/><Relationship Id="rId18" Type="http://schemas.openxmlformats.org/officeDocument/2006/relationships/image" Target="../media/image16.sv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32.sv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4.png"/><Relationship Id="rId20" Type="http://schemas.openxmlformats.org/officeDocument/2006/relationships/image" Target="../media/image36.svg"/><Relationship Id="rId1" Type="http://schemas.openxmlformats.org/officeDocument/2006/relationships/tags" Target="../tags/tag8.xml"/><Relationship Id="rId6" Type="http://schemas.openxmlformats.org/officeDocument/2006/relationships/image" Target="../media/image31.png"/><Relationship Id="rId11" Type="http://schemas.openxmlformats.org/officeDocument/2006/relationships/image" Target="../media/image7.svg"/><Relationship Id="rId5" Type="http://schemas.openxmlformats.org/officeDocument/2006/relationships/image" Target="../media/image30.svg"/><Relationship Id="rId15" Type="http://schemas.openxmlformats.org/officeDocument/2006/relationships/image" Target="../media/image13.svg"/><Relationship Id="rId10" Type="http://schemas.openxmlformats.org/officeDocument/2006/relationships/image" Target="../media/image6.png"/><Relationship Id="rId19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svg"/><Relationship Id="rId14" Type="http://schemas.openxmlformats.org/officeDocument/2006/relationships/image" Target="../media/image1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5.png"/><Relationship Id="rId3" Type="http://schemas.openxmlformats.org/officeDocument/2006/relationships/image" Target="../media/image5.svg"/><Relationship Id="rId7" Type="http://schemas.openxmlformats.org/officeDocument/2006/relationships/image" Target="../media/image9.svg"/><Relationship Id="rId12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png"/><Relationship Id="rId11" Type="http://schemas.openxmlformats.org/officeDocument/2006/relationships/image" Target="../media/image13.svg"/><Relationship Id="rId5" Type="http://schemas.openxmlformats.org/officeDocument/2006/relationships/image" Target="../media/image7.svg"/><Relationship Id="rId10" Type="http://schemas.openxmlformats.org/officeDocument/2006/relationships/image" Target="../media/image12.png"/><Relationship Id="rId4" Type="http://schemas.openxmlformats.org/officeDocument/2006/relationships/image" Target="../media/image6.png"/><Relationship Id="rId9" Type="http://schemas.openxmlformats.org/officeDocument/2006/relationships/image" Target="../media/image11.svg"/><Relationship Id="rId14" Type="http://schemas.openxmlformats.org/officeDocument/2006/relationships/image" Target="../media/image16.sv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13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png"/><Relationship Id="rId13" Type="http://schemas.openxmlformats.org/officeDocument/2006/relationships/image" Target="../media/image48.svg"/><Relationship Id="rId3" Type="http://schemas.openxmlformats.org/officeDocument/2006/relationships/image" Target="../media/image38.svg"/><Relationship Id="rId7" Type="http://schemas.openxmlformats.org/officeDocument/2006/relationships/image" Target="../media/image42.svg"/><Relationship Id="rId12" Type="http://schemas.openxmlformats.org/officeDocument/2006/relationships/image" Target="../media/image47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1.png"/><Relationship Id="rId11" Type="http://schemas.openxmlformats.org/officeDocument/2006/relationships/image" Target="../media/image46.svg"/><Relationship Id="rId5" Type="http://schemas.openxmlformats.org/officeDocument/2006/relationships/image" Target="../media/image40.svg"/><Relationship Id="rId10" Type="http://schemas.openxmlformats.org/officeDocument/2006/relationships/image" Target="../media/image45.png"/><Relationship Id="rId4" Type="http://schemas.openxmlformats.org/officeDocument/2006/relationships/image" Target="../media/image39.png"/><Relationship Id="rId9" Type="http://schemas.openxmlformats.org/officeDocument/2006/relationships/image" Target="../media/image44.sv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jpeg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notesSlide" Target="../notesSlides/notesSlide10.xml"/><Relationship Id="rId9" Type="http://schemas.openxmlformats.org/officeDocument/2006/relationships/image" Target="../media/image50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openxmlformats.org/officeDocument/2006/relationships/image" Target="../media/image13.svg"/><Relationship Id="rId3" Type="http://schemas.openxmlformats.org/officeDocument/2006/relationships/image" Target="../media/image5.svg"/><Relationship Id="rId7" Type="http://schemas.openxmlformats.org/officeDocument/2006/relationships/image" Target="../media/image18.svg"/><Relationship Id="rId12" Type="http://schemas.openxmlformats.org/officeDocument/2006/relationships/image" Target="../media/image12.png"/><Relationship Id="rId2" Type="http://schemas.openxmlformats.org/officeDocument/2006/relationships/image" Target="../media/image4.png"/><Relationship Id="rId16" Type="http://schemas.openxmlformats.org/officeDocument/2006/relationships/image" Target="../media/image16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11" Type="http://schemas.openxmlformats.org/officeDocument/2006/relationships/image" Target="../media/image11.svg"/><Relationship Id="rId5" Type="http://schemas.openxmlformats.org/officeDocument/2006/relationships/image" Target="../media/image7.svg"/><Relationship Id="rId15" Type="http://schemas.openxmlformats.org/officeDocument/2006/relationships/image" Target="../media/image15.png"/><Relationship Id="rId10" Type="http://schemas.openxmlformats.org/officeDocument/2006/relationships/image" Target="../media/image10.png"/><Relationship Id="rId4" Type="http://schemas.openxmlformats.org/officeDocument/2006/relationships/image" Target="../media/image6.png"/><Relationship Id="rId9" Type="http://schemas.openxmlformats.org/officeDocument/2006/relationships/image" Target="../media/image20.svg"/><Relationship Id="rId1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image" Target="../media/image13.svg"/><Relationship Id="rId11" Type="http://schemas.openxmlformats.org/officeDocument/2006/relationships/image" Target="../media/image22.svg"/><Relationship Id="rId5" Type="http://schemas.openxmlformats.org/officeDocument/2006/relationships/image" Target="../media/image12.png"/><Relationship Id="rId10" Type="http://schemas.openxmlformats.org/officeDocument/2006/relationships/image" Target="../media/image21.png"/><Relationship Id="rId4" Type="http://schemas.openxmlformats.org/officeDocument/2006/relationships/image" Target="../media/image11.svg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2.svg"/><Relationship Id="rId18" Type="http://schemas.openxmlformats.org/officeDocument/2006/relationships/image" Target="../media/image14.png"/><Relationship Id="rId3" Type="http://schemas.openxmlformats.org/officeDocument/2006/relationships/notesSlide" Target="../notesSlides/notesSlide2.xml"/><Relationship Id="rId21" Type="http://schemas.openxmlformats.org/officeDocument/2006/relationships/image" Target="../media/image6.png"/><Relationship Id="rId7" Type="http://schemas.openxmlformats.org/officeDocument/2006/relationships/image" Target="../media/image26.svg"/><Relationship Id="rId12" Type="http://schemas.openxmlformats.org/officeDocument/2006/relationships/image" Target="../media/image21.png"/><Relationship Id="rId17" Type="http://schemas.openxmlformats.org/officeDocument/2006/relationships/image" Target="../media/image13.svg"/><Relationship Id="rId2" Type="http://schemas.openxmlformats.org/officeDocument/2006/relationships/slideLayout" Target="../slideLayouts/slideLayout1.xml"/><Relationship Id="rId16" Type="http://schemas.openxmlformats.org/officeDocument/2006/relationships/image" Target="../media/image12.png"/><Relationship Id="rId20" Type="http://schemas.openxmlformats.org/officeDocument/2006/relationships/image" Target="../media/image16.svg"/><Relationship Id="rId1" Type="http://schemas.openxmlformats.org/officeDocument/2006/relationships/tags" Target="../tags/tag4.xml"/><Relationship Id="rId6" Type="http://schemas.openxmlformats.org/officeDocument/2006/relationships/image" Target="../media/image25.png"/><Relationship Id="rId11" Type="http://schemas.openxmlformats.org/officeDocument/2006/relationships/image" Target="../media/image5.svg"/><Relationship Id="rId5" Type="http://schemas.openxmlformats.org/officeDocument/2006/relationships/image" Target="../media/image24.svg"/><Relationship Id="rId15" Type="http://schemas.openxmlformats.org/officeDocument/2006/relationships/image" Target="../media/image11.svg"/><Relationship Id="rId10" Type="http://schemas.openxmlformats.org/officeDocument/2006/relationships/image" Target="../media/image4.png"/><Relationship Id="rId19" Type="http://schemas.openxmlformats.org/officeDocument/2006/relationships/image" Target="../media/image15.png"/><Relationship Id="rId4" Type="http://schemas.openxmlformats.org/officeDocument/2006/relationships/image" Target="../media/image23.png"/><Relationship Id="rId9" Type="http://schemas.openxmlformats.org/officeDocument/2006/relationships/image" Target="../media/image28.svg"/><Relationship Id="rId14" Type="http://schemas.openxmlformats.org/officeDocument/2006/relationships/image" Target="../media/image10.png"/><Relationship Id="rId22" Type="http://schemas.openxmlformats.org/officeDocument/2006/relationships/image" Target="../media/image7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13" Type="http://schemas.openxmlformats.org/officeDocument/2006/relationships/image" Target="../media/image11.svg"/><Relationship Id="rId18" Type="http://schemas.openxmlformats.org/officeDocument/2006/relationships/image" Target="../media/image16.svg"/><Relationship Id="rId3" Type="http://schemas.openxmlformats.org/officeDocument/2006/relationships/image" Target="../media/image5.svg"/><Relationship Id="rId7" Type="http://schemas.openxmlformats.org/officeDocument/2006/relationships/image" Target="../media/image24.svg"/><Relationship Id="rId12" Type="http://schemas.openxmlformats.org/officeDocument/2006/relationships/image" Target="../media/image10.png"/><Relationship Id="rId17" Type="http://schemas.openxmlformats.org/officeDocument/2006/relationships/image" Target="../media/image15.png"/><Relationship Id="rId2" Type="http://schemas.openxmlformats.org/officeDocument/2006/relationships/image" Target="../media/image4.png"/><Relationship Id="rId16" Type="http://schemas.openxmlformats.org/officeDocument/2006/relationships/image" Target="../media/image14.png"/><Relationship Id="rId20" Type="http://schemas.openxmlformats.org/officeDocument/2006/relationships/image" Target="../media/image7.sv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5" Type="http://schemas.openxmlformats.org/officeDocument/2006/relationships/image" Target="../media/image13.svg"/><Relationship Id="rId10" Type="http://schemas.openxmlformats.org/officeDocument/2006/relationships/image" Target="../media/image27.png"/><Relationship Id="rId19" Type="http://schemas.openxmlformats.org/officeDocument/2006/relationships/image" Target="../media/image6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Relationship Id="rId14" Type="http://schemas.openxmlformats.org/officeDocument/2006/relationships/image" Target="../media/image12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attern">
            <a:extLst>
              <a:ext uri="{FF2B5EF4-FFF2-40B4-BE49-F238E27FC236}">
                <a16:creationId xmlns:a16="http://schemas.microsoft.com/office/drawing/2014/main" id="{B82003D0-A4BE-4B7C-9DBE-3F1773370BF9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27" name="Graphic 4"/>
          <p:cNvSpPr/>
          <p:nvPr/>
        </p:nvSpPr>
        <p:spPr>
          <a:xfrm>
            <a:off x="10032999" y="2349500"/>
            <a:ext cx="2159001" cy="2159001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1600" y="0"/>
                </a:moveTo>
                <a:lnTo>
                  <a:pt x="21600" y="21600"/>
                </a:lnTo>
                <a:lnTo>
                  <a:pt x="10800" y="21600"/>
                </a:lnTo>
                <a:cubicBezTo>
                  <a:pt x="4835" y="21600"/>
                  <a:pt x="0" y="16765"/>
                  <a:pt x="0" y="10800"/>
                </a:cubicBezTo>
                <a:cubicBezTo>
                  <a:pt x="0" y="4835"/>
                  <a:pt x="4835" y="0"/>
                  <a:pt x="10800" y="0"/>
                </a:cubicBezTo>
                <a:lnTo>
                  <a:pt x="21600" y="0"/>
                </a:lnTo>
                <a:close/>
              </a:path>
            </a:pathLst>
          </a:custGeom>
          <a:solidFill>
            <a:schemeClr val="bg2"/>
          </a:solidFill>
          <a:ln w="12700">
            <a:miter lim="400000"/>
          </a:ln>
        </p:spPr>
        <p:txBody>
          <a:bodyPr lIns="22860" rIns="2286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8" name="Circle"/>
          <p:cNvSpPr/>
          <p:nvPr/>
        </p:nvSpPr>
        <p:spPr>
          <a:xfrm>
            <a:off x="10758153" y="3032125"/>
            <a:ext cx="793751" cy="793750"/>
          </a:xfrm>
          <a:prstGeom prst="ellipse">
            <a:avLst/>
          </a:prstGeom>
          <a:ln w="63500">
            <a:solidFill>
              <a:srgbClr val="FFFFFF"/>
            </a:solidFill>
            <a:miter lim="400000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sp>
        <p:nvSpPr>
          <p:cNvPr id="129" name="Line"/>
          <p:cNvSpPr/>
          <p:nvPr/>
        </p:nvSpPr>
        <p:spPr>
          <a:xfrm>
            <a:off x="11007096" y="3429000"/>
            <a:ext cx="296182" cy="0"/>
          </a:xfrm>
          <a:prstGeom prst="line">
            <a:avLst/>
          </a:prstGeom>
          <a:ln w="38100">
            <a:solidFill>
              <a:srgbClr val="FFFFFF"/>
            </a:solidFill>
            <a:miter lim="400000"/>
            <a:tailEnd type="arrow"/>
          </a:ln>
        </p:spPr>
        <p:txBody>
          <a:bodyPr lIns="0" tIns="0" rIns="0" bIns="0" anchor="ctr"/>
          <a:lstStyle/>
          <a:p>
            <a:pPr marL="0" marR="0" lvl="0" indent="0" algn="ctr" defTabSz="41275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200">
                <a:solidFill>
                  <a:srgbClr val="FFFFFF"/>
                </a:solidFill>
                <a:latin typeface="Poppins Bold"/>
                <a:ea typeface="Poppins Bold"/>
                <a:cs typeface="Poppins Bold"/>
                <a:sym typeface="Poppins Bold"/>
              </a:defRPr>
            </a:pPr>
            <a:endParaRPr kumimoji="0" sz="16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Bold"/>
              <a:cs typeface="Poppins Bold"/>
              <a:sym typeface="Poppins Bold"/>
            </a:endParaRPr>
          </a:p>
        </p:txBody>
      </p:sp>
      <p:grpSp>
        <p:nvGrpSpPr>
          <p:cNvPr id="11" name="Рисунок 2">
            <a:extLst>
              <a:ext uri="{FF2B5EF4-FFF2-40B4-BE49-F238E27FC236}">
                <a16:creationId xmlns:a16="http://schemas.microsoft.com/office/drawing/2014/main" id="{81E4D32B-EA39-4226-A820-DFDA54D70D9D}"/>
              </a:ext>
            </a:extLst>
          </p:cNvPr>
          <p:cNvGrpSpPr/>
          <p:nvPr/>
        </p:nvGrpSpPr>
        <p:grpSpPr>
          <a:xfrm>
            <a:off x="823295" y="845375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4A8EC787-F16A-4FDC-968C-FAFB2BE92427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D182EF7-913D-4BF0-8243-53B24E4809E3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4" name="Полилиния: фигура 13">
              <a:extLst>
                <a:ext uri="{FF2B5EF4-FFF2-40B4-BE49-F238E27FC236}">
                  <a16:creationId xmlns:a16="http://schemas.microsoft.com/office/drawing/2014/main" id="{D53A1300-6D39-495A-9276-5C1E5B486307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D9B5C8DC-493D-4CA2-A367-2BB1F4059AA5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20" name="CDIConf_Black">
            <a:extLst>
              <a:ext uri="{FF2B5EF4-FFF2-40B4-BE49-F238E27FC236}">
                <a16:creationId xmlns:a16="http://schemas.microsoft.com/office/drawing/2014/main" id="{0230A560-0FE1-416A-B018-721D0A7E4E8A}"/>
              </a:ext>
            </a:extLst>
          </p:cNvPr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6DC48993-8691-4B21-B0CE-E9922FF6A948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344D681F-944F-4942-B16F-C8A5F4F0941F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217C3DD2-C26B-4A95-8D99-02CD3046ED96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B60B56C0-FCF4-4241-B3F0-64CBD86DF7EA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5" name="Заголовок">
            <a:extLst>
              <a:ext uri="{FF2B5EF4-FFF2-40B4-BE49-F238E27FC236}">
                <a16:creationId xmlns:a16="http://schemas.microsoft.com/office/drawing/2014/main" id="{5457FC2E-3B87-4B8B-AEC3-EB2449AC98BC}"/>
              </a:ext>
            </a:extLst>
          </p:cNvPr>
          <p:cNvSpPr txBox="1"/>
          <p:nvPr/>
        </p:nvSpPr>
        <p:spPr>
          <a:xfrm>
            <a:off x="723776" y="2136338"/>
            <a:ext cx="7616188" cy="258532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CDI </a:t>
            </a:r>
            <a:r>
              <a:rPr kumimoji="0" lang="ru-RU" sz="5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будущего:</a:t>
            </a:r>
            <a:br>
              <a:rPr kumimoji="0" lang="ru-RU" sz="5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</a:br>
            <a:r>
              <a:rPr kumimoji="0" lang="ru-RU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+mn-cs"/>
              </a:rPr>
              <a:t>от клиентских данных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5400" b="1" dirty="0">
                <a:solidFill>
                  <a:srgbClr val="FFFFFF"/>
                </a:solidFill>
                <a:latin typeface="Roboto" pitchFamily="2" charset="0"/>
                <a:ea typeface="Roboto" pitchFamily="2" charset="0"/>
              </a:rPr>
              <a:t>к человеку</a:t>
            </a:r>
            <a:endParaRPr kumimoji="0" lang="ru-RU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+mn-cs"/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B3FEE9E-D287-4BF8-A0BF-6450E9376BB5}"/>
              </a:ext>
            </a:extLst>
          </p:cNvPr>
          <p:cNvGrpSpPr/>
          <p:nvPr/>
        </p:nvGrpSpPr>
        <p:grpSpPr>
          <a:xfrm>
            <a:off x="823295" y="5262594"/>
            <a:ext cx="3397338" cy="762000"/>
            <a:chOff x="1217541" y="5509934"/>
            <a:chExt cx="3397338" cy="762000"/>
          </a:xfrm>
        </p:grpSpPr>
        <p:grpSp>
          <p:nvGrpSpPr>
            <p:cNvPr id="31" name="Группа 30">
              <a:extLst>
                <a:ext uri="{FF2B5EF4-FFF2-40B4-BE49-F238E27FC236}">
                  <a16:creationId xmlns:a16="http://schemas.microsoft.com/office/drawing/2014/main" id="{74F481C8-A300-4CF6-BC0D-6A77DB483BF6}"/>
                </a:ext>
              </a:extLst>
            </p:cNvPr>
            <p:cNvGrpSpPr/>
            <p:nvPr/>
          </p:nvGrpSpPr>
          <p:grpSpPr>
            <a:xfrm>
              <a:off x="1217541" y="5509934"/>
              <a:ext cx="3397338" cy="762000"/>
              <a:chOff x="478199" y="1484302"/>
              <a:chExt cx="3397338" cy="762000"/>
            </a:xfrm>
          </p:grpSpPr>
          <p:sp>
            <p:nvSpPr>
              <p:cNvPr id="34" name="Rounded Rectangle">
                <a:extLst>
                  <a:ext uri="{FF2B5EF4-FFF2-40B4-BE49-F238E27FC236}">
                    <a16:creationId xmlns:a16="http://schemas.microsoft.com/office/drawing/2014/main" id="{0B86B469-3FA5-4F94-8FE0-35011EA1B724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397338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" name="Market analysis">
                <a:extLst>
                  <a:ext uri="{FF2B5EF4-FFF2-40B4-BE49-F238E27FC236}">
                    <a16:creationId xmlns:a16="http://schemas.microsoft.com/office/drawing/2014/main" id="{59159994-E08E-4D42-9533-271614F05D91}"/>
                  </a:ext>
                </a:extLst>
              </p:cNvPr>
              <p:cNvSpPr txBox="1"/>
              <p:nvPr/>
            </p:nvSpPr>
            <p:spPr>
              <a:xfrm>
                <a:off x="1305921" y="1649026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SemiBold"/>
                  </a:rPr>
                  <a:t>Павел Абдюшев</a:t>
                </a:r>
              </a:p>
            </p:txBody>
          </p:sp>
          <p:sp>
            <p:nvSpPr>
              <p:cNvPr id="36" name="Market analysis">
                <a:extLst>
                  <a:ext uri="{FF2B5EF4-FFF2-40B4-BE49-F238E27FC236}">
                    <a16:creationId xmlns:a16="http://schemas.microsoft.com/office/drawing/2014/main" id="{C6156070-82DB-4747-9DD5-3011F1A55D44}"/>
                  </a:ext>
                </a:extLst>
              </p:cNvPr>
              <p:cNvSpPr txBox="1"/>
              <p:nvPr/>
            </p:nvSpPr>
            <p:spPr>
              <a:xfrm>
                <a:off x="1305921" y="1905416"/>
                <a:ext cx="2254410" cy="14388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Roboto Light" panose="02000000000000000000" pitchFamily="2" charset="0"/>
                    <a:ea typeface="Roboto Light" panose="02000000000000000000" pitchFamily="2" charset="0"/>
                  </a:rPr>
                  <a:t>Директор по развитию продуктов</a:t>
                </a:r>
                <a:endPara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</p:grpSp>
        <p:pic>
          <p:nvPicPr>
            <p:cNvPr id="33" name="Рисунок 32">
              <a:extLst>
                <a:ext uri="{FF2B5EF4-FFF2-40B4-BE49-F238E27FC236}">
                  <a16:creationId xmlns:a16="http://schemas.microsoft.com/office/drawing/2014/main" id="{71B056AE-0EDD-49F8-B269-ADB6077FE5A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46" b="30694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0589CF95-DA2F-4731-91EE-D53E5B7C6D04}"/>
              </a:ext>
            </a:extLst>
          </p:cNvPr>
          <p:cNvGrpSpPr/>
          <p:nvPr/>
        </p:nvGrpSpPr>
        <p:grpSpPr>
          <a:xfrm>
            <a:off x="6957245" y="1650455"/>
            <a:ext cx="4627594" cy="4089322"/>
            <a:chOff x="6957245" y="1650455"/>
            <a:chExt cx="4627594" cy="4089322"/>
          </a:xfrm>
        </p:grpSpPr>
        <p:sp>
          <p:nvSpPr>
            <p:cNvPr id="145" name="Shape_фон">
              <a:extLst>
                <a:ext uri="{FF2B5EF4-FFF2-40B4-BE49-F238E27FC236}">
                  <a16:creationId xmlns:a16="http://schemas.microsoft.com/office/drawing/2014/main" id="{D711CEED-60D5-481A-A78A-58F58F809AC1}"/>
                </a:ext>
              </a:extLst>
            </p:cNvPr>
            <p:cNvSpPr/>
            <p:nvPr/>
          </p:nvSpPr>
          <p:spPr>
            <a:xfrm>
              <a:off x="6957245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6" name="Группа 5">
              <a:extLst>
                <a:ext uri="{FF2B5EF4-FFF2-40B4-BE49-F238E27FC236}">
                  <a16:creationId xmlns:a16="http://schemas.microsoft.com/office/drawing/2014/main" id="{5FF582D9-9DE9-4F2E-969F-806A12675AC5}"/>
                </a:ext>
              </a:extLst>
            </p:cNvPr>
            <p:cNvGrpSpPr/>
            <p:nvPr/>
          </p:nvGrpSpPr>
          <p:grpSpPr>
            <a:xfrm>
              <a:off x="8144862" y="1650455"/>
              <a:ext cx="2252360" cy="1143115"/>
              <a:chOff x="8681847" y="1717853"/>
              <a:chExt cx="2252360" cy="1143115"/>
            </a:xfrm>
          </p:grpSpPr>
          <p:sp>
            <p:nvSpPr>
              <p:cNvPr id="105" name="Shape_фон">
                <a:extLst>
                  <a:ext uri="{FF2B5EF4-FFF2-40B4-BE49-F238E27FC236}">
                    <a16:creationId xmlns:a16="http://schemas.microsoft.com/office/drawing/2014/main" id="{8301D96C-7D03-4E49-9737-5385FDAD5FCF}"/>
                  </a:ext>
                </a:extLst>
              </p:cNvPr>
              <p:cNvSpPr/>
              <p:nvPr/>
            </p:nvSpPr>
            <p:spPr>
              <a:xfrm>
                <a:off x="8681847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>
                  <a:defRPr/>
                </a:pPr>
                <a:endPara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6" name="Motion design">
                <a:extLst>
                  <a:ext uri="{FF2B5EF4-FFF2-40B4-BE49-F238E27FC236}">
                    <a16:creationId xmlns:a16="http://schemas.microsoft.com/office/drawing/2014/main" id="{F8BE74FF-D34C-425A-B6BD-57309649F300}"/>
                  </a:ext>
                </a:extLst>
              </p:cNvPr>
              <p:cNvSpPr txBox="1"/>
              <p:nvPr/>
            </p:nvSpPr>
            <p:spPr>
              <a:xfrm>
                <a:off x="8985083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I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ntegration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123" name="Группа 122">
              <a:extLst>
                <a:ext uri="{FF2B5EF4-FFF2-40B4-BE49-F238E27FC236}">
                  <a16:creationId xmlns:a16="http://schemas.microsoft.com/office/drawing/2014/main" id="{A20A2202-F31F-46ED-98FC-0914C6F808A7}"/>
                </a:ext>
              </a:extLst>
            </p:cNvPr>
            <p:cNvGrpSpPr/>
            <p:nvPr/>
          </p:nvGrpSpPr>
          <p:grpSpPr>
            <a:xfrm>
              <a:off x="7028901" y="2996826"/>
              <a:ext cx="2101354" cy="377702"/>
              <a:chOff x="6510195" y="1556711"/>
              <a:chExt cx="4712944" cy="847113"/>
            </a:xfrm>
          </p:grpSpPr>
          <p:sp>
            <p:nvSpPr>
              <p:cNvPr id="124" name="Rounded Rectangle">
                <a:extLst>
                  <a:ext uri="{FF2B5EF4-FFF2-40B4-BE49-F238E27FC236}">
                    <a16:creationId xmlns:a16="http://schemas.microsoft.com/office/drawing/2014/main" id="{7A20AA8E-F8E4-4FAF-889F-D555B8E1984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712944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25" name="Motion design">
                <a:extLst>
                  <a:ext uri="{FF2B5EF4-FFF2-40B4-BE49-F238E27FC236}">
                    <a16:creationId xmlns:a16="http://schemas.microsoft.com/office/drawing/2014/main" id="{092B3AAE-CD07-4B0D-A70B-8433BA732424}"/>
                  </a:ext>
                </a:extLst>
              </p:cNvPr>
              <p:cNvSpPr txBox="1"/>
              <p:nvPr/>
            </p:nvSpPr>
            <p:spPr>
              <a:xfrm>
                <a:off x="7434557" y="1745056"/>
                <a:ext cx="3691419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акет. 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T-1 </a:t>
                </a: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ли 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T-2</a:t>
                </a:r>
              </a:p>
            </p:txBody>
          </p:sp>
          <p:sp>
            <p:nvSpPr>
              <p:cNvPr id="126" name="Circle">
                <a:extLst>
                  <a:ext uri="{FF2B5EF4-FFF2-40B4-BE49-F238E27FC236}">
                    <a16:creationId xmlns:a16="http://schemas.microsoft.com/office/drawing/2014/main" id="{6B264AC3-720A-4E5E-A50E-EB37BDE4AE8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63" name="Группа 162">
              <a:extLst>
                <a:ext uri="{FF2B5EF4-FFF2-40B4-BE49-F238E27FC236}">
                  <a16:creationId xmlns:a16="http://schemas.microsoft.com/office/drawing/2014/main" id="{D5D9BCA5-7E40-46D5-AD6D-63C07A7F0F09}"/>
                </a:ext>
              </a:extLst>
            </p:cNvPr>
            <p:cNvGrpSpPr/>
            <p:nvPr/>
          </p:nvGrpSpPr>
          <p:grpSpPr>
            <a:xfrm>
              <a:off x="9229924" y="2994836"/>
              <a:ext cx="2252360" cy="377702"/>
              <a:chOff x="6510195" y="1556711"/>
              <a:chExt cx="5051622" cy="847113"/>
            </a:xfrm>
          </p:grpSpPr>
          <p:sp>
            <p:nvSpPr>
              <p:cNvPr id="164" name="Rounded Rectangle">
                <a:extLst>
                  <a:ext uri="{FF2B5EF4-FFF2-40B4-BE49-F238E27FC236}">
                    <a16:creationId xmlns:a16="http://schemas.microsoft.com/office/drawing/2014/main" id="{42E03FA5-D527-4669-8401-9B64E49C382A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65" name="Motion design">
                <a:extLst>
                  <a:ext uri="{FF2B5EF4-FFF2-40B4-BE49-F238E27FC236}">
                    <a16:creationId xmlns:a16="http://schemas.microsoft.com/office/drawing/2014/main" id="{6B28FC00-29CA-42F6-B241-8645B4A9A4A8}"/>
                  </a:ext>
                </a:extLst>
              </p:cNvPr>
              <p:cNvSpPr txBox="1"/>
              <p:nvPr/>
            </p:nvSpPr>
            <p:spPr>
              <a:xfrm>
                <a:off x="7395624" y="1745055"/>
                <a:ext cx="4127260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синхронный (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OAP)</a:t>
                </a:r>
              </a:p>
            </p:txBody>
          </p:sp>
          <p:sp>
            <p:nvSpPr>
              <p:cNvPr id="166" name="Circle">
                <a:extLst>
                  <a:ext uri="{FF2B5EF4-FFF2-40B4-BE49-F238E27FC236}">
                    <a16:creationId xmlns:a16="http://schemas.microsoft.com/office/drawing/2014/main" id="{862BA6CA-2B03-4AD5-910C-8420E65AB547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68" name="Группа 167">
              <a:extLst>
                <a:ext uri="{FF2B5EF4-FFF2-40B4-BE49-F238E27FC236}">
                  <a16:creationId xmlns:a16="http://schemas.microsoft.com/office/drawing/2014/main" id="{49F9BEC2-299D-461A-96C6-0723B1D113DA}"/>
                </a:ext>
              </a:extLst>
            </p:cNvPr>
            <p:cNvGrpSpPr/>
            <p:nvPr/>
          </p:nvGrpSpPr>
          <p:grpSpPr>
            <a:xfrm>
              <a:off x="9229924" y="3497030"/>
              <a:ext cx="2252360" cy="377702"/>
              <a:chOff x="6510195" y="1556711"/>
              <a:chExt cx="5051622" cy="847113"/>
            </a:xfrm>
          </p:grpSpPr>
          <p:sp>
            <p:nvSpPr>
              <p:cNvPr id="169" name="Rounded Rectangle">
                <a:extLst>
                  <a:ext uri="{FF2B5EF4-FFF2-40B4-BE49-F238E27FC236}">
                    <a16:creationId xmlns:a16="http://schemas.microsoft.com/office/drawing/2014/main" id="{BD3E42AC-8E03-4B1C-9952-2382CF0755A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0" name="Motion design">
                <a:extLst>
                  <a:ext uri="{FF2B5EF4-FFF2-40B4-BE49-F238E27FC236}">
                    <a16:creationId xmlns:a16="http://schemas.microsoft.com/office/drawing/2014/main" id="{CB14A385-AE93-418D-BB1B-8E91854CD61A}"/>
                  </a:ext>
                </a:extLst>
              </p:cNvPr>
              <p:cNvSpPr txBox="1"/>
              <p:nvPr/>
            </p:nvSpPr>
            <p:spPr>
              <a:xfrm>
                <a:off x="7395624" y="1745055"/>
                <a:ext cx="4127260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асинхронный (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JMS)</a:t>
                </a:r>
              </a:p>
            </p:txBody>
          </p:sp>
          <p:sp>
            <p:nvSpPr>
              <p:cNvPr id="171" name="Circle">
                <a:extLst>
                  <a:ext uri="{FF2B5EF4-FFF2-40B4-BE49-F238E27FC236}">
                    <a16:creationId xmlns:a16="http://schemas.microsoft.com/office/drawing/2014/main" id="{502AF2E4-49F2-4DF8-A8F1-241932E3AE2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FCF09485-689C-4A1F-873D-EF5FE915F152}"/>
                </a:ext>
              </a:extLst>
            </p:cNvPr>
            <p:cNvGrpSpPr/>
            <p:nvPr/>
          </p:nvGrpSpPr>
          <p:grpSpPr>
            <a:xfrm>
              <a:off x="9346982" y="4323029"/>
              <a:ext cx="2038094" cy="902827"/>
              <a:chOff x="8757188" y="4937907"/>
              <a:chExt cx="2038094" cy="902827"/>
            </a:xfrm>
          </p:grpSpPr>
          <p:sp>
            <p:nvSpPr>
              <p:cNvPr id="192" name="Shape_фон">
                <a:extLst>
                  <a:ext uri="{FF2B5EF4-FFF2-40B4-BE49-F238E27FC236}">
                    <a16:creationId xmlns:a16="http://schemas.microsoft.com/office/drawing/2014/main" id="{9EC78403-A9C9-4418-A4F7-50E145713CFF}"/>
                  </a:ext>
                </a:extLst>
              </p:cNvPr>
              <p:cNvSpPr/>
              <p:nvPr/>
            </p:nvSpPr>
            <p:spPr>
              <a:xfrm>
                <a:off x="8757188" y="4937907"/>
                <a:ext cx="2038094" cy="902827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3" name="Описание">
                <a:extLst>
                  <a:ext uri="{FF2B5EF4-FFF2-40B4-BE49-F238E27FC236}">
                    <a16:creationId xmlns:a16="http://schemas.microsoft.com/office/drawing/2014/main" id="{B091F2C6-FFE6-47D1-8278-F5A7B92D20B4}"/>
                  </a:ext>
                </a:extLst>
              </p:cNvPr>
              <p:cNvSpPr txBox="1"/>
              <p:nvPr/>
            </p:nvSpPr>
            <p:spPr>
              <a:xfrm>
                <a:off x="8819512" y="5105106"/>
                <a:ext cx="180041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(ФНС, Росстат, ЕФРСБ, СПАРК, СМЭВ, РФМ,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X-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omplience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)</a:t>
                </a:r>
              </a:p>
            </p:txBody>
          </p:sp>
        </p:grpSp>
        <p:grpSp>
          <p:nvGrpSpPr>
            <p:cNvPr id="194" name="Группа 193">
              <a:extLst>
                <a:ext uri="{FF2B5EF4-FFF2-40B4-BE49-F238E27FC236}">
                  <a16:creationId xmlns:a16="http://schemas.microsoft.com/office/drawing/2014/main" id="{E153EAC5-47AA-4FA3-A09D-8EED923DC8BC}"/>
                </a:ext>
              </a:extLst>
            </p:cNvPr>
            <p:cNvGrpSpPr/>
            <p:nvPr/>
          </p:nvGrpSpPr>
          <p:grpSpPr>
            <a:xfrm>
              <a:off x="9247312" y="4040930"/>
              <a:ext cx="2237433" cy="377702"/>
              <a:chOff x="6510193" y="1556711"/>
              <a:chExt cx="5018143" cy="847113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FAE4AAE5-E1D3-4F8E-A46D-28A749B76222}"/>
                  </a:ext>
                </a:extLst>
              </p:cNvPr>
              <p:cNvSpPr/>
              <p:nvPr/>
            </p:nvSpPr>
            <p:spPr>
              <a:xfrm>
                <a:off x="6510193" y="1556711"/>
                <a:ext cx="5018143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AA87961A-E592-42A5-ACB7-A92B1DBBA7DB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422633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Внешние источники: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FD424E94-28A6-4DBB-BEEB-19721EA06AF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02" name="Группа 201">
              <a:extLst>
                <a:ext uri="{FF2B5EF4-FFF2-40B4-BE49-F238E27FC236}">
                  <a16:creationId xmlns:a16="http://schemas.microsoft.com/office/drawing/2014/main" id="{26E10FC2-6F0F-4C6F-9636-A7A2FBE5CC45}"/>
                </a:ext>
              </a:extLst>
            </p:cNvPr>
            <p:cNvGrpSpPr/>
            <p:nvPr/>
          </p:nvGrpSpPr>
          <p:grpSpPr>
            <a:xfrm>
              <a:off x="7109314" y="3528512"/>
              <a:ext cx="1950895" cy="1697344"/>
              <a:chOff x="8460640" y="4727884"/>
              <a:chExt cx="1950895" cy="1697344"/>
            </a:xfrm>
          </p:grpSpPr>
          <p:sp>
            <p:nvSpPr>
              <p:cNvPr id="203" name="Shape_фон">
                <a:extLst>
                  <a:ext uri="{FF2B5EF4-FFF2-40B4-BE49-F238E27FC236}">
                    <a16:creationId xmlns:a16="http://schemas.microsoft.com/office/drawing/2014/main" id="{A6CD62E2-8081-475F-A240-DC9C4A74C708}"/>
                  </a:ext>
                </a:extLst>
              </p:cNvPr>
              <p:cNvSpPr/>
              <p:nvPr/>
            </p:nvSpPr>
            <p:spPr>
              <a:xfrm>
                <a:off x="8460640" y="4727884"/>
                <a:ext cx="1950895" cy="1697344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04" name="Описание">
                <a:extLst>
                  <a:ext uri="{FF2B5EF4-FFF2-40B4-BE49-F238E27FC236}">
                    <a16:creationId xmlns:a16="http://schemas.microsoft.com/office/drawing/2014/main" id="{E5D7A6C8-5C33-44C9-B1ED-798699795203}"/>
                  </a:ext>
                </a:extLst>
              </p:cNvPr>
              <p:cNvSpPr txBox="1"/>
              <p:nvPr/>
            </p:nvSpPr>
            <p:spPr>
              <a:xfrm>
                <a:off x="8684086" y="5253391"/>
                <a:ext cx="150400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Горячий резерв 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— интеграция между серверами ЕК</a:t>
                </a:r>
              </a:p>
            </p:txBody>
          </p:sp>
        </p:grpSp>
      </p:grpSp>
      <p:grpSp>
        <p:nvGrpSpPr>
          <p:cNvPr id="220" name="Группа 219">
            <a:extLst>
              <a:ext uri="{FF2B5EF4-FFF2-40B4-BE49-F238E27FC236}">
                <a16:creationId xmlns:a16="http://schemas.microsoft.com/office/drawing/2014/main" id="{0796AFC0-7ECB-4364-BC63-8D25B0291180}"/>
              </a:ext>
            </a:extLst>
          </p:cNvPr>
          <p:cNvGrpSpPr/>
          <p:nvPr/>
        </p:nvGrpSpPr>
        <p:grpSpPr>
          <a:xfrm>
            <a:off x="3488893" y="1897828"/>
            <a:ext cx="2829921" cy="2389707"/>
            <a:chOff x="13322364" y="1650455"/>
            <a:chExt cx="4842626" cy="4089322"/>
          </a:xfrm>
        </p:grpSpPr>
        <p:sp>
          <p:nvSpPr>
            <p:cNvPr id="221" name="Shape_фон">
              <a:extLst>
                <a:ext uri="{FF2B5EF4-FFF2-40B4-BE49-F238E27FC236}">
                  <a16:creationId xmlns:a16="http://schemas.microsoft.com/office/drawing/2014/main" id="{94EFDFE5-E52D-4C3B-BB8C-6598B3E6D446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22" name="Группа 221">
              <a:extLst>
                <a:ext uri="{FF2B5EF4-FFF2-40B4-BE49-F238E27FC236}">
                  <a16:creationId xmlns:a16="http://schemas.microsoft.com/office/drawing/2014/main" id="{BCE0E40B-B206-4C79-A95D-36D77862C24D}"/>
                </a:ext>
              </a:extLst>
            </p:cNvPr>
            <p:cNvGrpSpPr/>
            <p:nvPr/>
          </p:nvGrpSpPr>
          <p:grpSpPr>
            <a:xfrm>
              <a:off x="13322364" y="2932470"/>
              <a:ext cx="4842626" cy="2697854"/>
              <a:chOff x="12405115" y="-203962"/>
              <a:chExt cx="2936181" cy="1635763"/>
            </a:xfrm>
          </p:grpSpPr>
          <p:grpSp>
            <p:nvGrpSpPr>
              <p:cNvPr id="226" name="Группа 225">
                <a:extLst>
                  <a:ext uri="{FF2B5EF4-FFF2-40B4-BE49-F238E27FC236}">
                    <a16:creationId xmlns:a16="http://schemas.microsoft.com/office/drawing/2014/main" id="{99EB6BC0-012E-4540-911A-6E451CD693A3}"/>
                  </a:ext>
                </a:extLst>
              </p:cNvPr>
              <p:cNvGrpSpPr/>
              <p:nvPr/>
            </p:nvGrpSpPr>
            <p:grpSpPr>
              <a:xfrm>
                <a:off x="13182398" y="1187530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77" name="Rounded Rectangle">
                  <a:extLst>
                    <a:ext uri="{FF2B5EF4-FFF2-40B4-BE49-F238E27FC236}">
                      <a16:creationId xmlns:a16="http://schemas.microsoft.com/office/drawing/2014/main" id="{4FE4EE03-7F84-4BA1-80E2-AA1C5FA42781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8" name="Motion design">
                  <a:extLst>
                    <a:ext uri="{FF2B5EF4-FFF2-40B4-BE49-F238E27FC236}">
                      <a16:creationId xmlns:a16="http://schemas.microsoft.com/office/drawing/2014/main" id="{088196CC-DD71-4845-B18B-B548AE088EF6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Банковские карты</a:t>
                  </a:r>
                </a:p>
              </p:txBody>
            </p:sp>
            <p:sp>
              <p:nvSpPr>
                <p:cNvPr id="279" name="Circle">
                  <a:extLst>
                    <a:ext uri="{FF2B5EF4-FFF2-40B4-BE49-F238E27FC236}">
                      <a16:creationId xmlns:a16="http://schemas.microsoft.com/office/drawing/2014/main" id="{1F0FE0B8-21CD-4C74-967A-9A3FED51E679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7" name="Группа 226">
                <a:extLst>
                  <a:ext uri="{FF2B5EF4-FFF2-40B4-BE49-F238E27FC236}">
                    <a16:creationId xmlns:a16="http://schemas.microsoft.com/office/drawing/2014/main" id="{82E42D87-B76A-4BD1-B84B-4EC2FD63CBD2}"/>
                  </a:ext>
                </a:extLst>
              </p:cNvPr>
              <p:cNvGrpSpPr/>
              <p:nvPr/>
            </p:nvGrpSpPr>
            <p:grpSpPr>
              <a:xfrm>
                <a:off x="12405115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73" name="Rounded Rectangle">
                  <a:extLst>
                    <a:ext uri="{FF2B5EF4-FFF2-40B4-BE49-F238E27FC236}">
                      <a16:creationId xmlns:a16="http://schemas.microsoft.com/office/drawing/2014/main" id="{FB6FE9AE-39B2-4FB1-B22A-7E76A6BEBDE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4" name="Motion design">
                  <a:extLst>
                    <a:ext uri="{FF2B5EF4-FFF2-40B4-BE49-F238E27FC236}">
                      <a16:creationId xmlns:a16="http://schemas.microsoft.com/office/drawing/2014/main" id="{9B03D081-E806-4482-856C-21A11797E163}"/>
                    </a:ext>
                  </a:extLst>
                </p:cNvPr>
                <p:cNvSpPr txBox="1"/>
                <p:nvPr/>
              </p:nvSpPr>
              <p:spPr>
                <a:xfrm>
                  <a:off x="7434554" y="1769011"/>
                  <a:ext cx="3978691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недвижимости</a:t>
                  </a:r>
                </a:p>
              </p:txBody>
            </p:sp>
            <p:sp>
              <p:nvSpPr>
                <p:cNvPr id="275" name="Circle">
                  <a:extLst>
                    <a:ext uri="{FF2B5EF4-FFF2-40B4-BE49-F238E27FC236}">
                      <a16:creationId xmlns:a16="http://schemas.microsoft.com/office/drawing/2014/main" id="{360C9778-4AB2-4A5E-A0D5-37AC3C5E46D0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8" name="Группа 227">
                <a:extLst>
                  <a:ext uri="{FF2B5EF4-FFF2-40B4-BE49-F238E27FC236}">
                    <a16:creationId xmlns:a16="http://schemas.microsoft.com/office/drawing/2014/main" id="{ED10A478-8D7F-4973-9FF1-14D75C729D32}"/>
                  </a:ext>
                </a:extLst>
              </p:cNvPr>
              <p:cNvGrpSpPr/>
              <p:nvPr/>
            </p:nvGrpSpPr>
            <p:grpSpPr>
              <a:xfrm>
                <a:off x="12405115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9" name="Rounded Rectangle">
                  <a:extLst>
                    <a:ext uri="{FF2B5EF4-FFF2-40B4-BE49-F238E27FC236}">
                      <a16:creationId xmlns:a16="http://schemas.microsoft.com/office/drawing/2014/main" id="{004C9391-120F-46B2-BE8E-0D1C2FA3BB30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0" name="Motion design">
                  <a:extLst>
                    <a:ext uri="{FF2B5EF4-FFF2-40B4-BE49-F238E27FC236}">
                      <a16:creationId xmlns:a16="http://schemas.microsoft.com/office/drawing/2014/main" id="{7210689D-1ED7-4A7F-B3BF-EE3E5F8832E1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Авто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1" name="Circle">
                  <a:extLst>
                    <a:ext uri="{FF2B5EF4-FFF2-40B4-BE49-F238E27FC236}">
                      <a16:creationId xmlns:a16="http://schemas.microsoft.com/office/drawing/2014/main" id="{1281A0C9-C07C-4660-AD85-9CDEA8DF1881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9" name="Группа 228">
                <a:extLst>
                  <a:ext uri="{FF2B5EF4-FFF2-40B4-BE49-F238E27FC236}">
                    <a16:creationId xmlns:a16="http://schemas.microsoft.com/office/drawing/2014/main" id="{B9BFE39D-5F34-43CC-8A61-D28E003B46A1}"/>
                  </a:ext>
                </a:extLst>
              </p:cNvPr>
              <p:cNvGrpSpPr/>
              <p:nvPr/>
            </p:nvGrpSpPr>
            <p:grpSpPr>
              <a:xfrm>
                <a:off x="12405115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5" name="Rounded Rectangle">
                  <a:extLst>
                    <a:ext uri="{FF2B5EF4-FFF2-40B4-BE49-F238E27FC236}">
                      <a16:creationId xmlns:a16="http://schemas.microsoft.com/office/drawing/2014/main" id="{CBF129E7-E81C-43DA-B2A3-5E112267BE8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6" name="Motion design">
                  <a:extLst>
                    <a:ext uri="{FF2B5EF4-FFF2-40B4-BE49-F238E27FC236}">
                      <a16:creationId xmlns:a16="http://schemas.microsoft.com/office/drawing/2014/main" id="{AC1108D1-7EC0-4FC2-80D8-B5F56E675466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67" name="Circle">
                  <a:extLst>
                    <a:ext uri="{FF2B5EF4-FFF2-40B4-BE49-F238E27FC236}">
                      <a16:creationId xmlns:a16="http://schemas.microsoft.com/office/drawing/2014/main" id="{CD1AA220-3A77-4B4B-82C4-D52B6320CAFF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0" name="Группа 229">
                <a:extLst>
                  <a:ext uri="{FF2B5EF4-FFF2-40B4-BE49-F238E27FC236}">
                    <a16:creationId xmlns:a16="http://schemas.microsoft.com/office/drawing/2014/main" id="{A087BA5A-E170-4F81-B62C-D1104A2AF622}"/>
                  </a:ext>
                </a:extLst>
              </p:cNvPr>
              <p:cNvGrpSpPr/>
              <p:nvPr/>
            </p:nvGrpSpPr>
            <p:grpSpPr>
              <a:xfrm>
                <a:off x="12405115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1" name="Rounded Rectangle">
                  <a:extLst>
                    <a:ext uri="{FF2B5EF4-FFF2-40B4-BE49-F238E27FC236}">
                      <a16:creationId xmlns:a16="http://schemas.microsoft.com/office/drawing/2014/main" id="{2AE3574F-787C-495B-BE30-FDBD75E9C43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2" name="Motion design">
                  <a:extLst>
                    <a:ext uri="{FF2B5EF4-FFF2-40B4-BE49-F238E27FC236}">
                      <a16:creationId xmlns:a16="http://schemas.microsoft.com/office/drawing/2014/main" id="{683B6215-03CA-44FF-A9D2-AA00880A97D0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</a:p>
              </p:txBody>
            </p:sp>
            <p:sp>
              <p:nvSpPr>
                <p:cNvPr id="263" name="Circle">
                  <a:extLst>
                    <a:ext uri="{FF2B5EF4-FFF2-40B4-BE49-F238E27FC236}">
                      <a16:creationId xmlns:a16="http://schemas.microsoft.com/office/drawing/2014/main" id="{87DCF0FD-1A5F-46F2-A163-F7212D73AD0A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1" name="Группа 230">
                <a:extLst>
                  <a:ext uri="{FF2B5EF4-FFF2-40B4-BE49-F238E27FC236}">
                    <a16:creationId xmlns:a16="http://schemas.microsoft.com/office/drawing/2014/main" id="{30B4A5D0-D6DC-4C97-9328-622FB1740408}"/>
                  </a:ext>
                </a:extLst>
              </p:cNvPr>
              <p:cNvGrpSpPr/>
              <p:nvPr/>
            </p:nvGrpSpPr>
            <p:grpSpPr>
              <a:xfrm>
                <a:off x="12405115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57" name="Rounded Rectangle">
                  <a:extLst>
                    <a:ext uri="{FF2B5EF4-FFF2-40B4-BE49-F238E27FC236}">
                      <a16:creationId xmlns:a16="http://schemas.microsoft.com/office/drawing/2014/main" id="{3CC7F427-C1E0-48C6-904A-035DD41E2F3A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8" name="Motion design">
                  <a:extLst>
                    <a:ext uri="{FF2B5EF4-FFF2-40B4-BE49-F238E27FC236}">
                      <a16:creationId xmlns:a16="http://schemas.microsoft.com/office/drawing/2014/main" id="{D3EF9CCE-7E1F-4353-A5E6-180C3EF1D3D7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59" name="Circle">
                  <a:extLst>
                    <a:ext uri="{FF2B5EF4-FFF2-40B4-BE49-F238E27FC236}">
                      <a16:creationId xmlns:a16="http://schemas.microsoft.com/office/drawing/2014/main" id="{E0D80DB3-08B9-4842-A8C7-32CD5527AA1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2" name="Группа 231">
                <a:extLst>
                  <a:ext uri="{FF2B5EF4-FFF2-40B4-BE49-F238E27FC236}">
                    <a16:creationId xmlns:a16="http://schemas.microsoft.com/office/drawing/2014/main" id="{70C159D6-04F5-4A15-B032-035B0F391606}"/>
                  </a:ext>
                </a:extLst>
              </p:cNvPr>
              <p:cNvGrpSpPr/>
              <p:nvPr/>
            </p:nvGrpSpPr>
            <p:grpSpPr>
              <a:xfrm>
                <a:off x="13884628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53" name="Rounded Rectangle">
                  <a:extLst>
                    <a:ext uri="{FF2B5EF4-FFF2-40B4-BE49-F238E27FC236}">
                      <a16:creationId xmlns:a16="http://schemas.microsoft.com/office/drawing/2014/main" id="{E10A6411-77A0-4508-93D3-3E143EEB18C2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4" name="Motion design">
                  <a:extLst>
                    <a:ext uri="{FF2B5EF4-FFF2-40B4-BE49-F238E27FC236}">
                      <a16:creationId xmlns:a16="http://schemas.microsoft.com/office/drawing/2014/main" id="{F5E46C85-6342-4BC2-A210-00C9A88176CB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Услуги</a:t>
                  </a:r>
                </a:p>
              </p:txBody>
            </p:sp>
            <p:sp>
              <p:nvSpPr>
                <p:cNvPr id="255" name="Circle">
                  <a:extLst>
                    <a:ext uri="{FF2B5EF4-FFF2-40B4-BE49-F238E27FC236}">
                      <a16:creationId xmlns:a16="http://schemas.microsoft.com/office/drawing/2014/main" id="{F875CCBF-3E8C-463B-838B-FFED30013637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3" name="Группа 232">
                <a:extLst>
                  <a:ext uri="{FF2B5EF4-FFF2-40B4-BE49-F238E27FC236}">
                    <a16:creationId xmlns:a16="http://schemas.microsoft.com/office/drawing/2014/main" id="{447081C2-7255-4BB5-88AF-4CA13E099B20}"/>
                  </a:ext>
                </a:extLst>
              </p:cNvPr>
              <p:cNvGrpSpPr/>
              <p:nvPr/>
            </p:nvGrpSpPr>
            <p:grpSpPr>
              <a:xfrm>
                <a:off x="13884628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9" name="Rounded Rectangle">
                  <a:extLst>
                    <a:ext uri="{FF2B5EF4-FFF2-40B4-BE49-F238E27FC236}">
                      <a16:creationId xmlns:a16="http://schemas.microsoft.com/office/drawing/2014/main" id="{CED7F8F5-1A40-4FE4-AD44-C634B3F1C0AB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0" name="Motion design">
                  <a:extLst>
                    <a:ext uri="{FF2B5EF4-FFF2-40B4-BE49-F238E27FC236}">
                      <a16:creationId xmlns:a16="http://schemas.microsoft.com/office/drawing/2014/main" id="{867C55AB-5870-41DA-A511-35B0E8184B15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51" name="Circle">
                  <a:extLst>
                    <a:ext uri="{FF2B5EF4-FFF2-40B4-BE49-F238E27FC236}">
                      <a16:creationId xmlns:a16="http://schemas.microsoft.com/office/drawing/2014/main" id="{E18C9CFC-BBCF-4FC7-8EC5-88AFFABAA49C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4" name="Группа 233">
                <a:extLst>
                  <a:ext uri="{FF2B5EF4-FFF2-40B4-BE49-F238E27FC236}">
                    <a16:creationId xmlns:a16="http://schemas.microsoft.com/office/drawing/2014/main" id="{D29171DC-041C-4EE7-B0B9-78B142BD2B0A}"/>
                  </a:ext>
                </a:extLst>
              </p:cNvPr>
              <p:cNvGrpSpPr/>
              <p:nvPr/>
            </p:nvGrpSpPr>
            <p:grpSpPr>
              <a:xfrm>
                <a:off x="13884628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5" name="Rounded Rectangle">
                  <a:extLst>
                    <a:ext uri="{FF2B5EF4-FFF2-40B4-BE49-F238E27FC236}">
                      <a16:creationId xmlns:a16="http://schemas.microsoft.com/office/drawing/2014/main" id="{267D6B49-63E8-47CF-82B6-E77BE0E47F44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46" name="Motion design">
                  <a:extLst>
                    <a:ext uri="{FF2B5EF4-FFF2-40B4-BE49-F238E27FC236}">
                      <a16:creationId xmlns:a16="http://schemas.microsoft.com/office/drawing/2014/main" id="{BE129D72-39A2-4AD0-94DF-678CB8FF9FFC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Договоры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47" name="Circle">
                  <a:extLst>
                    <a:ext uri="{FF2B5EF4-FFF2-40B4-BE49-F238E27FC236}">
                      <a16:creationId xmlns:a16="http://schemas.microsoft.com/office/drawing/2014/main" id="{88F24CEE-785F-40A9-992A-D5F78C638EA8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5" name="Группа 234">
                <a:extLst>
                  <a:ext uri="{FF2B5EF4-FFF2-40B4-BE49-F238E27FC236}">
                    <a16:creationId xmlns:a16="http://schemas.microsoft.com/office/drawing/2014/main" id="{60AD3632-36AD-4F8F-946C-2CEFD9B5F5DB}"/>
                  </a:ext>
                </a:extLst>
              </p:cNvPr>
              <p:cNvGrpSpPr/>
              <p:nvPr/>
            </p:nvGrpSpPr>
            <p:grpSpPr>
              <a:xfrm>
                <a:off x="13884628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1" name="Rounded Rectangle">
                  <a:extLst>
                    <a:ext uri="{FF2B5EF4-FFF2-40B4-BE49-F238E27FC236}">
                      <a16:creationId xmlns:a16="http://schemas.microsoft.com/office/drawing/2014/main" id="{84CC6D44-39BC-46D9-A931-6A19153CFD3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42" name="Motion design">
                  <a:extLst>
                    <a:ext uri="{FF2B5EF4-FFF2-40B4-BE49-F238E27FC236}">
                      <a16:creationId xmlns:a16="http://schemas.microsoft.com/office/drawing/2014/main" id="{0B8FB14E-F2E5-4896-B6D8-4A2683F5A376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олисы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43" name="Circle">
                  <a:extLst>
                    <a:ext uri="{FF2B5EF4-FFF2-40B4-BE49-F238E27FC236}">
                      <a16:creationId xmlns:a16="http://schemas.microsoft.com/office/drawing/2014/main" id="{F769AF53-03AD-4967-B615-9E536D5DC2E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6" name="Группа 235">
                <a:extLst>
                  <a:ext uri="{FF2B5EF4-FFF2-40B4-BE49-F238E27FC236}">
                    <a16:creationId xmlns:a16="http://schemas.microsoft.com/office/drawing/2014/main" id="{9555FB3C-D375-4DA7-9607-4893DBAF0233}"/>
                  </a:ext>
                </a:extLst>
              </p:cNvPr>
              <p:cNvGrpSpPr/>
              <p:nvPr/>
            </p:nvGrpSpPr>
            <p:grpSpPr>
              <a:xfrm>
                <a:off x="13884628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37" name="Rounded Rectangle">
                  <a:extLst>
                    <a:ext uri="{FF2B5EF4-FFF2-40B4-BE49-F238E27FC236}">
                      <a16:creationId xmlns:a16="http://schemas.microsoft.com/office/drawing/2014/main" id="{DABCF4DB-CCAD-48C7-8C69-B5CEEA57BB30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38" name="Motion design">
                  <a:extLst>
                    <a:ext uri="{FF2B5EF4-FFF2-40B4-BE49-F238E27FC236}">
                      <a16:creationId xmlns:a16="http://schemas.microsoft.com/office/drawing/2014/main" id="{453CFF0E-4CE2-46A7-A60F-F0F0FEA8F785}"/>
                    </a:ext>
                  </a:extLst>
                </p:cNvPr>
                <p:cNvSpPr txBox="1"/>
                <p:nvPr/>
              </p:nvSpPr>
              <p:spPr>
                <a:xfrm>
                  <a:off x="7434557" y="1769011"/>
                  <a:ext cx="3691419" cy="40133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им-карты</a:t>
                  </a:r>
                </a:p>
              </p:txBody>
            </p:sp>
            <p:sp>
              <p:nvSpPr>
                <p:cNvPr id="239" name="Circle">
                  <a:extLst>
                    <a:ext uri="{FF2B5EF4-FFF2-40B4-BE49-F238E27FC236}">
                      <a16:creationId xmlns:a16="http://schemas.microsoft.com/office/drawing/2014/main" id="{18207035-9A70-47ED-A8E2-A66899845141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23" name="Группа 222">
              <a:extLst>
                <a:ext uri="{FF2B5EF4-FFF2-40B4-BE49-F238E27FC236}">
                  <a16:creationId xmlns:a16="http://schemas.microsoft.com/office/drawing/2014/main" id="{705388E5-364B-4E1A-9A63-616C6A1BA13C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224" name="Shape_фон">
                <a:extLst>
                  <a:ext uri="{FF2B5EF4-FFF2-40B4-BE49-F238E27FC236}">
                    <a16:creationId xmlns:a16="http://schemas.microsoft.com/office/drawing/2014/main" id="{736354FF-7A3B-40F0-A4D0-894A8366F4F2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25" name="Motion design">
                <a:extLst>
                  <a:ext uri="{FF2B5EF4-FFF2-40B4-BE49-F238E27FC236}">
                    <a16:creationId xmlns:a16="http://schemas.microsoft.com/office/drawing/2014/main" id="{DB2527CB-AF1A-4F75-AB25-C63785D3CBCE}"/>
                  </a:ext>
                </a:extLst>
              </p:cNvPr>
              <p:cNvSpPr txBox="1"/>
              <p:nvPr/>
            </p:nvSpPr>
            <p:spPr>
              <a:xfrm>
                <a:off x="1528519" y="2024743"/>
                <a:ext cx="1645888" cy="66823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32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32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8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</p:grpSp>
      <p:grpSp>
        <p:nvGrpSpPr>
          <p:cNvPr id="281" name="Группа 280">
            <a:extLst>
              <a:ext uri="{FF2B5EF4-FFF2-40B4-BE49-F238E27FC236}">
                <a16:creationId xmlns:a16="http://schemas.microsoft.com/office/drawing/2014/main" id="{5F31FC3A-4F1F-4F3B-9233-1A3A99E8E0C0}"/>
              </a:ext>
            </a:extLst>
          </p:cNvPr>
          <p:cNvGrpSpPr/>
          <p:nvPr/>
        </p:nvGrpSpPr>
        <p:grpSpPr>
          <a:xfrm>
            <a:off x="292407" y="1877436"/>
            <a:ext cx="2764590" cy="2402753"/>
            <a:chOff x="3785721" y="1717852"/>
            <a:chExt cx="4627594" cy="4021923"/>
          </a:xfrm>
        </p:grpSpPr>
        <p:sp>
          <p:nvSpPr>
            <p:cNvPr id="282" name="Shape_фон">
              <a:extLst>
                <a:ext uri="{FF2B5EF4-FFF2-40B4-BE49-F238E27FC236}">
                  <a16:creationId xmlns:a16="http://schemas.microsoft.com/office/drawing/2014/main" id="{DACD0929-F293-4EED-B749-3F0F23C13263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83" name="Группа 282">
              <a:extLst>
                <a:ext uri="{FF2B5EF4-FFF2-40B4-BE49-F238E27FC236}">
                  <a16:creationId xmlns:a16="http://schemas.microsoft.com/office/drawing/2014/main" id="{342AAD9E-3A81-4D25-93E6-21376AC34169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311" name="Shape_фон">
                <a:extLst>
                  <a:ext uri="{FF2B5EF4-FFF2-40B4-BE49-F238E27FC236}">
                    <a16:creationId xmlns:a16="http://schemas.microsoft.com/office/drawing/2014/main" id="{F688DF97-D10F-400A-A14B-36719219B6A8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2" name="Motion design">
                <a:extLst>
                  <a:ext uri="{FF2B5EF4-FFF2-40B4-BE49-F238E27FC236}">
                    <a16:creationId xmlns:a16="http://schemas.microsoft.com/office/drawing/2014/main" id="{31DA500A-8F3E-421F-9D9A-79D78EC676F0}"/>
                  </a:ext>
                </a:extLst>
              </p:cNvPr>
              <p:cNvSpPr txBox="1"/>
              <p:nvPr/>
            </p:nvSpPr>
            <p:spPr>
              <a:xfrm>
                <a:off x="1528520" y="1985353"/>
                <a:ext cx="1645888" cy="74701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32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8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84" name="Группа 283">
              <a:extLst>
                <a:ext uri="{FF2B5EF4-FFF2-40B4-BE49-F238E27FC236}">
                  <a16:creationId xmlns:a16="http://schemas.microsoft.com/office/drawing/2014/main" id="{1AC523C6-FA39-46E1-9483-941290F2796A}"/>
                </a:ext>
              </a:extLst>
            </p:cNvPr>
            <p:cNvGrpSpPr/>
            <p:nvPr/>
          </p:nvGrpSpPr>
          <p:grpSpPr>
            <a:xfrm>
              <a:off x="4134678" y="4254926"/>
              <a:ext cx="3873414" cy="1269126"/>
              <a:chOff x="4134678" y="4610689"/>
              <a:chExt cx="3873414" cy="1269126"/>
            </a:xfrm>
          </p:grpSpPr>
          <p:grpSp>
            <p:nvGrpSpPr>
              <p:cNvPr id="303" name="Группа 302">
                <a:extLst>
                  <a:ext uri="{FF2B5EF4-FFF2-40B4-BE49-F238E27FC236}">
                    <a16:creationId xmlns:a16="http://schemas.microsoft.com/office/drawing/2014/main" id="{01429B5B-7ABD-4A1C-BFD4-2217C43C5E19}"/>
                  </a:ext>
                </a:extLst>
              </p:cNvPr>
              <p:cNvGrpSpPr/>
              <p:nvPr/>
            </p:nvGrpSpPr>
            <p:grpSpPr>
              <a:xfrm>
                <a:off x="4149226" y="4863649"/>
                <a:ext cx="3858866" cy="1016166"/>
                <a:chOff x="874457" y="4860615"/>
                <a:chExt cx="3858866" cy="775339"/>
              </a:xfrm>
            </p:grpSpPr>
            <p:sp>
              <p:nvSpPr>
                <p:cNvPr id="309" name="Shape_фон">
                  <a:extLst>
                    <a:ext uri="{FF2B5EF4-FFF2-40B4-BE49-F238E27FC236}">
                      <a16:creationId xmlns:a16="http://schemas.microsoft.com/office/drawing/2014/main" id="{F6B7EF7D-84D9-414D-A9F3-A4B1AE1C855B}"/>
                    </a:ext>
                  </a:extLst>
                </p:cNvPr>
                <p:cNvSpPr/>
                <p:nvPr/>
              </p:nvSpPr>
              <p:spPr>
                <a:xfrm>
                  <a:off x="874457" y="4860615"/>
                  <a:ext cx="3858866" cy="775339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10" name="Описание">
                  <a:extLst>
                    <a:ext uri="{FF2B5EF4-FFF2-40B4-BE49-F238E27FC236}">
                      <a16:creationId xmlns:a16="http://schemas.microsoft.com/office/drawing/2014/main" id="{004D7ABE-FFEE-4D0B-AEC7-70FF33D75580}"/>
                    </a:ext>
                  </a:extLst>
                </p:cNvPr>
                <p:cNvSpPr txBox="1"/>
                <p:nvPr/>
              </p:nvSpPr>
              <p:spPr>
                <a:xfrm>
                  <a:off x="1022396" y="5011216"/>
                  <a:ext cx="2553755" cy="530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VIP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мошенник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Зарплатный клиент</a:t>
                  </a:r>
                </a:p>
              </p:txBody>
            </p:sp>
          </p:grpSp>
          <p:grpSp>
            <p:nvGrpSpPr>
              <p:cNvPr id="304" name="Группа 303">
                <a:extLst>
                  <a:ext uri="{FF2B5EF4-FFF2-40B4-BE49-F238E27FC236}">
                    <a16:creationId xmlns:a16="http://schemas.microsoft.com/office/drawing/2014/main" id="{E48FC44B-CD03-44BD-A3ED-1D6170C4AC20}"/>
                  </a:ext>
                </a:extLst>
              </p:cNvPr>
              <p:cNvGrpSpPr/>
              <p:nvPr/>
            </p:nvGrpSpPr>
            <p:grpSpPr>
              <a:xfrm>
                <a:off x="4134678" y="4610689"/>
                <a:ext cx="1563112" cy="377702"/>
                <a:chOff x="6510195" y="1556711"/>
                <a:chExt cx="3505767" cy="847113"/>
              </a:xfrm>
            </p:grpSpPr>
            <p:sp>
              <p:nvSpPr>
                <p:cNvPr id="305" name="Rounded Rectangle">
                  <a:extLst>
                    <a:ext uri="{FF2B5EF4-FFF2-40B4-BE49-F238E27FC236}">
                      <a16:creationId xmlns:a16="http://schemas.microsoft.com/office/drawing/2014/main" id="{16584EC2-40D2-422C-ADD6-F2FA6D992CD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505767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06" name="Motion design">
                  <a:extLst>
                    <a:ext uri="{FF2B5EF4-FFF2-40B4-BE49-F238E27FC236}">
                      <a16:creationId xmlns:a16="http://schemas.microsoft.com/office/drawing/2014/main" id="{85878994-AF91-4804-921A-6EA3B7227AE5}"/>
                    </a:ext>
                  </a:extLst>
                </p:cNvPr>
                <p:cNvSpPr txBox="1"/>
                <p:nvPr/>
              </p:nvSpPr>
              <p:spPr>
                <a:xfrm>
                  <a:off x="7434558" y="1696222"/>
                  <a:ext cx="2052005" cy="546915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Категории</a:t>
                  </a:r>
                </a:p>
              </p:txBody>
            </p:sp>
            <p:sp>
              <p:nvSpPr>
                <p:cNvPr id="307" name="Circle">
                  <a:extLst>
                    <a:ext uri="{FF2B5EF4-FFF2-40B4-BE49-F238E27FC236}">
                      <a16:creationId xmlns:a16="http://schemas.microsoft.com/office/drawing/2014/main" id="{F6D02C49-541A-465E-8E63-4199CA0932C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5" name="Группа 284">
              <a:extLst>
                <a:ext uri="{FF2B5EF4-FFF2-40B4-BE49-F238E27FC236}">
                  <a16:creationId xmlns:a16="http://schemas.microsoft.com/office/drawing/2014/main" id="{478E3845-32D4-4E7D-9A9A-54FDD6DD6B39}"/>
                </a:ext>
              </a:extLst>
            </p:cNvPr>
            <p:cNvGrpSpPr/>
            <p:nvPr/>
          </p:nvGrpSpPr>
          <p:grpSpPr>
            <a:xfrm>
              <a:off x="4078416" y="2990128"/>
              <a:ext cx="1644476" cy="995996"/>
              <a:chOff x="4078416" y="3265857"/>
              <a:chExt cx="1644476" cy="995996"/>
            </a:xfrm>
          </p:grpSpPr>
          <p:grpSp>
            <p:nvGrpSpPr>
              <p:cNvPr id="295" name="Группа 294">
                <a:extLst>
                  <a:ext uri="{FF2B5EF4-FFF2-40B4-BE49-F238E27FC236}">
                    <a16:creationId xmlns:a16="http://schemas.microsoft.com/office/drawing/2014/main" id="{C0A29DCE-4444-4809-8861-41ABA93E1836}"/>
                  </a:ext>
                </a:extLst>
              </p:cNvPr>
              <p:cNvGrpSpPr/>
              <p:nvPr/>
            </p:nvGrpSpPr>
            <p:grpSpPr>
              <a:xfrm>
                <a:off x="4103519" y="3557839"/>
                <a:ext cx="1594271" cy="704014"/>
                <a:chOff x="874456" y="3607440"/>
                <a:chExt cx="1594271" cy="704014"/>
              </a:xfrm>
            </p:grpSpPr>
            <p:sp>
              <p:nvSpPr>
                <p:cNvPr id="301" name="Shape_фон">
                  <a:extLst>
                    <a:ext uri="{FF2B5EF4-FFF2-40B4-BE49-F238E27FC236}">
                      <a16:creationId xmlns:a16="http://schemas.microsoft.com/office/drawing/2014/main" id="{C1CA63CE-B417-4B2F-BCDD-D88276A73DA6}"/>
                    </a:ext>
                  </a:extLst>
                </p:cNvPr>
                <p:cNvSpPr/>
                <p:nvPr/>
              </p:nvSpPr>
              <p:spPr>
                <a:xfrm>
                  <a:off x="874456" y="3607440"/>
                  <a:ext cx="1594271" cy="704014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02" name="Описание">
                  <a:extLst>
                    <a:ext uri="{FF2B5EF4-FFF2-40B4-BE49-F238E27FC236}">
                      <a16:creationId xmlns:a16="http://schemas.microsoft.com/office/drawing/2014/main" id="{964E45BE-98A6-4D4E-9D5F-C13E3A649ACF}"/>
                    </a:ext>
                  </a:extLst>
                </p:cNvPr>
                <p:cNvSpPr txBox="1"/>
                <p:nvPr/>
              </p:nvSpPr>
              <p:spPr>
                <a:xfrm>
                  <a:off x="939786" y="3715069"/>
                  <a:ext cx="1212740" cy="5151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ФЛ</a:t>
                  </a:r>
                </a:p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lang="ru-RU" sz="700" dirty="0"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</a:rPr>
                    <a:t>ЮЛ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296" name="Группа 295">
                <a:extLst>
                  <a:ext uri="{FF2B5EF4-FFF2-40B4-BE49-F238E27FC236}">
                    <a16:creationId xmlns:a16="http://schemas.microsoft.com/office/drawing/2014/main" id="{E86F1EBE-83EC-4BD4-BCFC-9AB3C83C2409}"/>
                  </a:ext>
                </a:extLst>
              </p:cNvPr>
              <p:cNvGrpSpPr/>
              <p:nvPr/>
            </p:nvGrpSpPr>
            <p:grpSpPr>
              <a:xfrm>
                <a:off x="4078416" y="3265857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97" name="Rounded Rectangle">
                  <a:extLst>
                    <a:ext uri="{FF2B5EF4-FFF2-40B4-BE49-F238E27FC236}">
                      <a16:creationId xmlns:a16="http://schemas.microsoft.com/office/drawing/2014/main" id="{11EEBFB2-1E7C-4884-9874-07A444179A0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8" name="Motion design">
                  <a:extLst>
                    <a:ext uri="{FF2B5EF4-FFF2-40B4-BE49-F238E27FC236}">
                      <a16:creationId xmlns:a16="http://schemas.microsoft.com/office/drawing/2014/main" id="{4F512E11-DBD2-478C-92ED-50AAAE536F1C}"/>
                    </a:ext>
                  </a:extLst>
                </p:cNvPr>
                <p:cNvSpPr txBox="1"/>
                <p:nvPr/>
              </p:nvSpPr>
              <p:spPr>
                <a:xfrm>
                  <a:off x="7434558" y="1696217"/>
                  <a:ext cx="2052005" cy="54691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Типы</a:t>
                  </a:r>
                </a:p>
              </p:txBody>
            </p:sp>
            <p:sp>
              <p:nvSpPr>
                <p:cNvPr id="299" name="Circle">
                  <a:extLst>
                    <a:ext uri="{FF2B5EF4-FFF2-40B4-BE49-F238E27FC236}">
                      <a16:creationId xmlns:a16="http://schemas.microsoft.com/office/drawing/2014/main" id="{8BEFC484-525A-4F9B-91BF-36097B8013F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6" name="Группа 285">
              <a:extLst>
                <a:ext uri="{FF2B5EF4-FFF2-40B4-BE49-F238E27FC236}">
                  <a16:creationId xmlns:a16="http://schemas.microsoft.com/office/drawing/2014/main" id="{D6A973C9-2E00-407E-AFA8-05986A89345E}"/>
                </a:ext>
              </a:extLst>
            </p:cNvPr>
            <p:cNvGrpSpPr/>
            <p:nvPr/>
          </p:nvGrpSpPr>
          <p:grpSpPr>
            <a:xfrm>
              <a:off x="6388516" y="2990128"/>
              <a:ext cx="1644476" cy="1369861"/>
              <a:chOff x="6388516" y="3254948"/>
              <a:chExt cx="1644476" cy="1369861"/>
            </a:xfrm>
          </p:grpSpPr>
          <p:grpSp>
            <p:nvGrpSpPr>
              <p:cNvPr id="287" name="Группа 286">
                <a:extLst>
                  <a:ext uri="{FF2B5EF4-FFF2-40B4-BE49-F238E27FC236}">
                    <a16:creationId xmlns:a16="http://schemas.microsoft.com/office/drawing/2014/main" id="{11D255AB-D808-4400-9E03-C7B5BEFA0CEF}"/>
                  </a:ext>
                </a:extLst>
              </p:cNvPr>
              <p:cNvGrpSpPr/>
              <p:nvPr/>
            </p:nvGrpSpPr>
            <p:grpSpPr>
              <a:xfrm>
                <a:off x="6388516" y="3402454"/>
                <a:ext cx="1644476" cy="1222355"/>
                <a:chOff x="2319503" y="3607439"/>
                <a:chExt cx="1644476" cy="1222355"/>
              </a:xfrm>
            </p:grpSpPr>
            <p:sp>
              <p:nvSpPr>
                <p:cNvPr id="293" name="Shape_фон">
                  <a:extLst>
                    <a:ext uri="{FF2B5EF4-FFF2-40B4-BE49-F238E27FC236}">
                      <a16:creationId xmlns:a16="http://schemas.microsoft.com/office/drawing/2014/main" id="{A3E4C5E9-5A8F-4199-B835-88E331A7B396}"/>
                    </a:ext>
                  </a:extLst>
                </p:cNvPr>
                <p:cNvSpPr/>
                <p:nvPr/>
              </p:nvSpPr>
              <p:spPr>
                <a:xfrm>
                  <a:off x="2319503" y="3607439"/>
                  <a:ext cx="1644476" cy="1222355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4" name="Описание">
                  <a:extLst>
                    <a:ext uri="{FF2B5EF4-FFF2-40B4-BE49-F238E27FC236}">
                      <a16:creationId xmlns:a16="http://schemas.microsoft.com/office/drawing/2014/main" id="{0612C925-242C-47F3-8497-12FCBB127AAD}"/>
                    </a:ext>
                  </a:extLst>
                </p:cNvPr>
                <p:cNvSpPr txBox="1"/>
                <p:nvPr/>
              </p:nvSpPr>
              <p:spPr>
                <a:xfrm>
                  <a:off x="2381135" y="3832820"/>
                  <a:ext cx="1557945" cy="8758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Кли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роспек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Аг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Сотрудник</a:t>
                  </a:r>
                </a:p>
              </p:txBody>
            </p:sp>
          </p:grpSp>
          <p:grpSp>
            <p:nvGrpSpPr>
              <p:cNvPr id="288" name="Группа 287">
                <a:extLst>
                  <a:ext uri="{FF2B5EF4-FFF2-40B4-BE49-F238E27FC236}">
                    <a16:creationId xmlns:a16="http://schemas.microsoft.com/office/drawing/2014/main" id="{A2693219-A2E8-4B42-9CAA-964E2C2B7F5B}"/>
                  </a:ext>
                </a:extLst>
              </p:cNvPr>
              <p:cNvGrpSpPr/>
              <p:nvPr/>
            </p:nvGrpSpPr>
            <p:grpSpPr>
              <a:xfrm>
                <a:off x="6388516" y="3254948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89" name="Rounded Rectangle">
                  <a:extLst>
                    <a:ext uri="{FF2B5EF4-FFF2-40B4-BE49-F238E27FC236}">
                      <a16:creationId xmlns:a16="http://schemas.microsoft.com/office/drawing/2014/main" id="{095ECF68-B8BC-424E-8ABE-C5C9DB1C04B7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0" name="Motion design">
                  <a:extLst>
                    <a:ext uri="{FF2B5EF4-FFF2-40B4-BE49-F238E27FC236}">
                      <a16:creationId xmlns:a16="http://schemas.microsoft.com/office/drawing/2014/main" id="{DE1F217D-1AC4-4425-B1D7-23E305A40B2D}"/>
                    </a:ext>
                  </a:extLst>
                </p:cNvPr>
                <p:cNvSpPr txBox="1"/>
                <p:nvPr/>
              </p:nvSpPr>
              <p:spPr>
                <a:xfrm>
                  <a:off x="7434558" y="1696217"/>
                  <a:ext cx="2052005" cy="54691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Роли</a:t>
                  </a:r>
                </a:p>
              </p:txBody>
            </p:sp>
            <p:sp>
              <p:nvSpPr>
                <p:cNvPr id="291" name="Circle">
                  <a:extLst>
                    <a:ext uri="{FF2B5EF4-FFF2-40B4-BE49-F238E27FC236}">
                      <a16:creationId xmlns:a16="http://schemas.microsoft.com/office/drawing/2014/main" id="{DCB0248B-00FC-4E1A-8CEA-9243F289705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</p:grpSp>
      <p:sp>
        <p:nvSpPr>
          <p:cNvPr id="142" name="Заголовок">
            <a:extLst>
              <a:ext uri="{FF2B5EF4-FFF2-40B4-BE49-F238E27FC236}">
                <a16:creationId xmlns:a16="http://schemas.microsoft.com/office/drawing/2014/main" id="{FEEF4AFD-AC1E-4387-BE3C-D31D3E6FEA82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43" name="Таймлайн">
            <a:extLst>
              <a:ext uri="{FF2B5EF4-FFF2-40B4-BE49-F238E27FC236}">
                <a16:creationId xmlns:a16="http://schemas.microsoft.com/office/drawing/2014/main" id="{F1992C31-C786-4757-8971-533D008A3515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44" name="Прямая соединительная линия 143">
            <a:extLst>
              <a:ext uri="{FF2B5EF4-FFF2-40B4-BE49-F238E27FC236}">
                <a16:creationId xmlns:a16="http://schemas.microsoft.com/office/drawing/2014/main" id="{3ACB02B1-1CC8-4434-B031-819A9556CF2D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7" name="Прямая соединительная линия 146">
            <a:extLst>
              <a:ext uri="{FF2B5EF4-FFF2-40B4-BE49-F238E27FC236}">
                <a16:creationId xmlns:a16="http://schemas.microsoft.com/office/drawing/2014/main" id="{189C1CC9-1C61-4CF0-B7C7-F2936EBB5CBD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8" name="Прямая соединительная линия 147">
            <a:extLst>
              <a:ext uri="{FF2B5EF4-FFF2-40B4-BE49-F238E27FC236}">
                <a16:creationId xmlns:a16="http://schemas.microsoft.com/office/drawing/2014/main" id="{723F8057-FAC6-427F-8C56-CAC88BB8EFE6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9" name="Прямая соединительная линия 148">
            <a:extLst>
              <a:ext uri="{FF2B5EF4-FFF2-40B4-BE49-F238E27FC236}">
                <a16:creationId xmlns:a16="http://schemas.microsoft.com/office/drawing/2014/main" id="{A6560D63-B9E1-4C90-B173-642AC51BB5BE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0" name="Group 2048">
            <a:extLst>
              <a:ext uri="{FF2B5EF4-FFF2-40B4-BE49-F238E27FC236}">
                <a16:creationId xmlns:a16="http://schemas.microsoft.com/office/drawing/2014/main" id="{A70070CE-20FC-4CDD-BE7D-14517FE8D565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BA06791F-4D78-4C90-80CD-99D26AF3C249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1754A474-12C0-4821-8EA7-F8A8DA1D471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153" name="Группа 152">
            <a:extLst>
              <a:ext uri="{FF2B5EF4-FFF2-40B4-BE49-F238E27FC236}">
                <a16:creationId xmlns:a16="http://schemas.microsoft.com/office/drawing/2014/main" id="{E955A9A3-1F12-43A1-A87A-69446FD15AF0}"/>
              </a:ext>
            </a:extLst>
          </p:cNvPr>
          <p:cNvGrpSpPr/>
          <p:nvPr/>
        </p:nvGrpSpPr>
        <p:grpSpPr>
          <a:xfrm>
            <a:off x="-2230331" y="2330663"/>
            <a:ext cx="1798435" cy="1842895"/>
            <a:chOff x="4828309" y="2330663"/>
            <a:chExt cx="1798435" cy="1842895"/>
          </a:xfrm>
        </p:grpSpPr>
        <p:sp>
          <p:nvSpPr>
            <p:cNvPr id="154" name="Freeform 17">
              <a:extLst>
                <a:ext uri="{FF2B5EF4-FFF2-40B4-BE49-F238E27FC236}">
                  <a16:creationId xmlns:a16="http://schemas.microsoft.com/office/drawing/2014/main" id="{2A88F079-C190-497F-94F1-040ACCA959A0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8">
              <a:extLst>
                <a:ext uri="{FF2B5EF4-FFF2-40B4-BE49-F238E27FC236}">
                  <a16:creationId xmlns:a16="http://schemas.microsoft.com/office/drawing/2014/main" id="{CC084084-4FBA-4775-8080-A7575106C6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85" name="Группа 184">
            <a:extLst>
              <a:ext uri="{FF2B5EF4-FFF2-40B4-BE49-F238E27FC236}">
                <a16:creationId xmlns:a16="http://schemas.microsoft.com/office/drawing/2014/main" id="{7D91EA0D-1CE4-4A2B-AF0D-227993FC4D9B}"/>
              </a:ext>
            </a:extLst>
          </p:cNvPr>
          <p:cNvGrpSpPr/>
          <p:nvPr/>
        </p:nvGrpSpPr>
        <p:grpSpPr>
          <a:xfrm>
            <a:off x="-6967356" y="1843788"/>
            <a:ext cx="4374910" cy="3052303"/>
            <a:chOff x="256506" y="1843788"/>
            <a:chExt cx="4374910" cy="3052303"/>
          </a:xfrm>
        </p:grpSpPr>
        <p:sp>
          <p:nvSpPr>
            <p:cNvPr id="186" name="Описание">
              <a:extLst>
                <a:ext uri="{FF2B5EF4-FFF2-40B4-BE49-F238E27FC236}">
                  <a16:creationId xmlns:a16="http://schemas.microsoft.com/office/drawing/2014/main" id="{E4F44EF0-2A46-42D0-8DA0-75028FEC9BF9}"/>
                </a:ext>
              </a:extLst>
            </p:cNvPr>
            <p:cNvSpPr txBox="1"/>
            <p:nvPr/>
          </p:nvSpPr>
          <p:spPr>
            <a:xfrm>
              <a:off x="2387904" y="3510436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87" name="Shape_фон">
              <a:extLst>
                <a:ext uri="{FF2B5EF4-FFF2-40B4-BE49-F238E27FC236}">
                  <a16:creationId xmlns:a16="http://schemas.microsoft.com/office/drawing/2014/main" id="{6AB2B1A2-D546-421E-B521-8D44D2F21E1B}"/>
                </a:ext>
              </a:extLst>
            </p:cNvPr>
            <p:cNvSpPr/>
            <p:nvPr/>
          </p:nvSpPr>
          <p:spPr>
            <a:xfrm>
              <a:off x="256506" y="2166638"/>
              <a:ext cx="4374910" cy="272945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88" name="Группа 187">
              <a:extLst>
                <a:ext uri="{FF2B5EF4-FFF2-40B4-BE49-F238E27FC236}">
                  <a16:creationId xmlns:a16="http://schemas.microsoft.com/office/drawing/2014/main" id="{29560763-1130-4DD4-BEC4-3244825DDC56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211" name="Rounded Rectangle">
                <a:extLst>
                  <a:ext uri="{FF2B5EF4-FFF2-40B4-BE49-F238E27FC236}">
                    <a16:creationId xmlns:a16="http://schemas.microsoft.com/office/drawing/2014/main" id="{29C78024-5858-4590-8BB7-B1844EB176F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12" name="Motion design">
                <a:extLst>
                  <a:ext uri="{FF2B5EF4-FFF2-40B4-BE49-F238E27FC236}">
                    <a16:creationId xmlns:a16="http://schemas.microsoft.com/office/drawing/2014/main" id="{58F33EDC-C9D7-496C-9C31-8DC573F3AD66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213" name="Circle">
                <a:extLst>
                  <a:ext uri="{FF2B5EF4-FFF2-40B4-BE49-F238E27FC236}">
                    <a16:creationId xmlns:a16="http://schemas.microsoft.com/office/drawing/2014/main" id="{EDD9241F-8684-4EFA-9813-224B461150E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1A453140-4F71-4327-AAF5-DEAEC159EED6}"/>
                </a:ext>
              </a:extLst>
            </p:cNvPr>
            <p:cNvGrpSpPr/>
            <p:nvPr/>
          </p:nvGrpSpPr>
          <p:grpSpPr>
            <a:xfrm>
              <a:off x="703386" y="2601526"/>
              <a:ext cx="3548295" cy="2086465"/>
              <a:chOff x="514706" y="2573493"/>
              <a:chExt cx="3548295" cy="2086465"/>
            </a:xfrm>
          </p:grpSpPr>
          <p:sp>
            <p:nvSpPr>
              <p:cNvPr id="190" name="Описание">
                <a:extLst>
                  <a:ext uri="{FF2B5EF4-FFF2-40B4-BE49-F238E27FC236}">
                    <a16:creationId xmlns:a16="http://schemas.microsoft.com/office/drawing/2014/main" id="{388528E6-E7F5-456C-9EA8-D338650BDF02}"/>
                  </a:ext>
                </a:extLst>
              </p:cNvPr>
              <p:cNvSpPr txBox="1"/>
              <p:nvPr/>
            </p:nvSpPr>
            <p:spPr>
              <a:xfrm>
                <a:off x="514706" y="3059520"/>
                <a:ext cx="3548295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роверка по черным спискам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чет согласий при коммуникаци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прощение отчетност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Точная сегмент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бота с </a:t>
                </a:r>
                <a:r>
                  <a:rPr lang="ru-RU" sz="14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лидами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VIPами</a:t>
                </a:r>
                <a:endPara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ыбор лучших контактов</a:t>
                </a:r>
              </a:p>
            </p:txBody>
          </p:sp>
          <p:grpSp>
            <p:nvGrpSpPr>
              <p:cNvPr id="191" name="Группа 190">
                <a:extLst>
                  <a:ext uri="{FF2B5EF4-FFF2-40B4-BE49-F238E27FC236}">
                    <a16:creationId xmlns:a16="http://schemas.microsoft.com/office/drawing/2014/main" id="{40151B84-1ED1-43C2-80D0-85A4D0EE6A2D}"/>
                  </a:ext>
                </a:extLst>
              </p:cNvPr>
              <p:cNvGrpSpPr/>
              <p:nvPr/>
            </p:nvGrpSpPr>
            <p:grpSpPr>
              <a:xfrm>
                <a:off x="1317800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208" name="Rounded Rectangle">
                  <a:extLst>
                    <a:ext uri="{FF2B5EF4-FFF2-40B4-BE49-F238E27FC236}">
                      <a16:creationId xmlns:a16="http://schemas.microsoft.com/office/drawing/2014/main" id="{FC93BB42-8748-49FF-89D5-2F9A22D49C17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09" name="Motion design">
                  <a:extLst>
                    <a:ext uri="{FF2B5EF4-FFF2-40B4-BE49-F238E27FC236}">
                      <a16:creationId xmlns:a16="http://schemas.microsoft.com/office/drawing/2014/main" id="{72DAF4EC-60CC-4F70-BBDF-060B945EF650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2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10" name="Circle">
                  <a:extLst>
                    <a:ext uri="{FF2B5EF4-FFF2-40B4-BE49-F238E27FC236}">
                      <a16:creationId xmlns:a16="http://schemas.microsoft.com/office/drawing/2014/main" id="{6C17CEEC-9E7F-4956-A468-B87CCCB076A1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99" name="Группа 198">
                <a:extLst>
                  <a:ext uri="{FF2B5EF4-FFF2-40B4-BE49-F238E27FC236}">
                    <a16:creationId xmlns:a16="http://schemas.microsoft.com/office/drawing/2014/main" id="{4161FD00-167E-4FBE-99EE-025DAA87EAE8}"/>
                  </a:ext>
                </a:extLst>
              </p:cNvPr>
              <p:cNvGrpSpPr/>
              <p:nvPr/>
            </p:nvGrpSpPr>
            <p:grpSpPr>
              <a:xfrm>
                <a:off x="2573576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205" name="Rounded Rectangle">
                  <a:extLst>
                    <a:ext uri="{FF2B5EF4-FFF2-40B4-BE49-F238E27FC236}">
                      <a16:creationId xmlns:a16="http://schemas.microsoft.com/office/drawing/2014/main" id="{78CFFE55-615D-46A8-8B89-114CB8D51CEA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06" name="Motion design">
                  <a:extLst>
                    <a:ext uri="{FF2B5EF4-FFF2-40B4-BE49-F238E27FC236}">
                      <a16:creationId xmlns:a16="http://schemas.microsoft.com/office/drawing/2014/main" id="{2F44D62F-A858-4748-992D-C92207657558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1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07" name="Circle">
                  <a:extLst>
                    <a:ext uri="{FF2B5EF4-FFF2-40B4-BE49-F238E27FC236}">
                      <a16:creationId xmlns:a16="http://schemas.microsoft.com/office/drawing/2014/main" id="{B73DA226-EA94-4D8C-A4CF-1F2154A986CF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200" name="Прямая соединительная линия 199">
                <a:extLst>
                  <a:ext uri="{FF2B5EF4-FFF2-40B4-BE49-F238E27FC236}">
                    <a16:creationId xmlns:a16="http://schemas.microsoft.com/office/drawing/2014/main" id="{1D24D02D-EC9E-49C4-8A68-25A41BEF96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1" name="Прямая соединительная линия 200">
                <a:extLst>
                  <a:ext uri="{FF2B5EF4-FFF2-40B4-BE49-F238E27FC236}">
                    <a16:creationId xmlns:a16="http://schemas.microsoft.com/office/drawing/2014/main" id="{C50E644D-6C10-404C-8B6D-2F661C88C07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80031838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58" name="Заголовок">
            <a:extLst>
              <a:ext uri="{FF2B5EF4-FFF2-40B4-BE49-F238E27FC236}">
                <a16:creationId xmlns:a16="http://schemas.microsoft.com/office/drawing/2014/main" id="{6ED08144-D8E6-4C5A-9E8B-25A20403DE22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59" name="Таймлайн">
            <a:extLst>
              <a:ext uri="{FF2B5EF4-FFF2-40B4-BE49-F238E27FC236}">
                <a16:creationId xmlns:a16="http://schemas.microsoft.com/office/drawing/2014/main" id="{733D32C9-07BF-40A5-91C6-051627E3F422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A3FD48E1-BE76-4104-9C76-7723CB27B273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1938A164-5A24-4651-B874-FE346A42E573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6A166B2F-9FED-4773-870F-DFA286090D17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90FF63B5-421C-4A02-A936-FBF139F61181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2048">
            <a:extLst>
              <a:ext uri="{FF2B5EF4-FFF2-40B4-BE49-F238E27FC236}">
                <a16:creationId xmlns:a16="http://schemas.microsoft.com/office/drawing/2014/main" id="{C4EF509A-3827-4542-ABA6-DDFFF089E85A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79" name="Freeform 23">
              <a:extLst>
                <a:ext uri="{FF2B5EF4-FFF2-40B4-BE49-F238E27FC236}">
                  <a16:creationId xmlns:a16="http://schemas.microsoft.com/office/drawing/2014/main" id="{E4BADAEC-7183-4467-84E2-6DC0F1ED7619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80" name="Freeform 24">
              <a:extLst>
                <a:ext uri="{FF2B5EF4-FFF2-40B4-BE49-F238E27FC236}">
                  <a16:creationId xmlns:a16="http://schemas.microsoft.com/office/drawing/2014/main" id="{D7238869-346A-4170-8FCC-D795131F38D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23306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13046602" y="23536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7794629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6CE59D02-455C-4A7B-991E-40A76D98F086}"/>
              </a:ext>
            </a:extLst>
          </p:cNvPr>
          <p:cNvGrpSpPr/>
          <p:nvPr/>
        </p:nvGrpSpPr>
        <p:grpSpPr>
          <a:xfrm>
            <a:off x="256506" y="1843788"/>
            <a:ext cx="4374910" cy="3052303"/>
            <a:chOff x="256506" y="1843788"/>
            <a:chExt cx="4374910" cy="3052303"/>
          </a:xfrm>
        </p:grpSpPr>
        <p:sp>
          <p:nvSpPr>
            <p:cNvPr id="87" name="Описание">
              <a:extLst>
                <a:ext uri="{FF2B5EF4-FFF2-40B4-BE49-F238E27FC236}">
                  <a16:creationId xmlns:a16="http://schemas.microsoft.com/office/drawing/2014/main" id="{13D1C931-B32F-4F99-9D9C-8CB825B8972F}"/>
                </a:ext>
              </a:extLst>
            </p:cNvPr>
            <p:cNvSpPr txBox="1"/>
            <p:nvPr/>
          </p:nvSpPr>
          <p:spPr>
            <a:xfrm>
              <a:off x="2387904" y="3510436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88" name="Shape_фон">
              <a:extLst>
                <a:ext uri="{FF2B5EF4-FFF2-40B4-BE49-F238E27FC236}">
                  <a16:creationId xmlns:a16="http://schemas.microsoft.com/office/drawing/2014/main" id="{462AA18D-AB31-41C7-9CAA-6F873E53BBD6}"/>
                </a:ext>
              </a:extLst>
            </p:cNvPr>
            <p:cNvSpPr/>
            <p:nvPr/>
          </p:nvSpPr>
          <p:spPr>
            <a:xfrm>
              <a:off x="256506" y="2166638"/>
              <a:ext cx="4374910" cy="272945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9" name="Группа 88">
              <a:extLst>
                <a:ext uri="{FF2B5EF4-FFF2-40B4-BE49-F238E27FC236}">
                  <a16:creationId xmlns:a16="http://schemas.microsoft.com/office/drawing/2014/main" id="{C58EE9FF-E70E-43A7-92FC-548F614A82E7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90" name="Rounded Rectangle">
                <a:extLst>
                  <a:ext uri="{FF2B5EF4-FFF2-40B4-BE49-F238E27FC236}">
                    <a16:creationId xmlns:a16="http://schemas.microsoft.com/office/drawing/2014/main" id="{E488F451-2C8D-4707-AC6B-9B2FF8E8618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91" name="Motion design">
                <a:extLst>
                  <a:ext uri="{FF2B5EF4-FFF2-40B4-BE49-F238E27FC236}">
                    <a16:creationId xmlns:a16="http://schemas.microsoft.com/office/drawing/2014/main" id="{4712008C-C4C3-4A55-A5A3-AE0567522DCC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92" name="Circle">
                <a:extLst>
                  <a:ext uri="{FF2B5EF4-FFF2-40B4-BE49-F238E27FC236}">
                    <a16:creationId xmlns:a16="http://schemas.microsoft.com/office/drawing/2014/main" id="{1A6384F3-9990-4A1D-B800-3B6D2FB1861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A09A30DB-9C7A-4837-8692-E6DCC6BD6A6E}"/>
                </a:ext>
              </a:extLst>
            </p:cNvPr>
            <p:cNvGrpSpPr/>
            <p:nvPr/>
          </p:nvGrpSpPr>
          <p:grpSpPr>
            <a:xfrm>
              <a:off x="703386" y="2601526"/>
              <a:ext cx="3548295" cy="2086465"/>
              <a:chOff x="514706" y="2573493"/>
              <a:chExt cx="3548295" cy="2086465"/>
            </a:xfrm>
          </p:grpSpPr>
          <p:sp>
            <p:nvSpPr>
              <p:cNvPr id="94" name="Описание">
                <a:extLst>
                  <a:ext uri="{FF2B5EF4-FFF2-40B4-BE49-F238E27FC236}">
                    <a16:creationId xmlns:a16="http://schemas.microsoft.com/office/drawing/2014/main" id="{C009D4CC-B585-4E0A-8861-BAC68271E494}"/>
                  </a:ext>
                </a:extLst>
              </p:cNvPr>
              <p:cNvSpPr txBox="1"/>
              <p:nvPr/>
            </p:nvSpPr>
            <p:spPr>
              <a:xfrm>
                <a:off x="514706" y="3059520"/>
                <a:ext cx="3548295" cy="160043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роверка по черным спискам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чет согласий при коммуникаци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прощение отчетност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Точная сегмент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бота с </a:t>
                </a:r>
                <a:r>
                  <a:rPr lang="ru-RU" sz="14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лидами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VIPами</a:t>
                </a:r>
                <a:endPara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ыбор лучших контактов</a:t>
                </a:r>
              </a:p>
            </p:txBody>
          </p:sp>
          <p:grpSp>
            <p:nvGrpSpPr>
              <p:cNvPr id="95" name="Группа 94">
                <a:extLst>
                  <a:ext uri="{FF2B5EF4-FFF2-40B4-BE49-F238E27FC236}">
                    <a16:creationId xmlns:a16="http://schemas.microsoft.com/office/drawing/2014/main" id="{FA740FB2-DA80-48AC-A4A2-755F2ADD1C85}"/>
                  </a:ext>
                </a:extLst>
              </p:cNvPr>
              <p:cNvGrpSpPr/>
              <p:nvPr/>
            </p:nvGrpSpPr>
            <p:grpSpPr>
              <a:xfrm>
                <a:off x="1317800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96" name="Rounded Rectangle">
                  <a:extLst>
                    <a:ext uri="{FF2B5EF4-FFF2-40B4-BE49-F238E27FC236}">
                      <a16:creationId xmlns:a16="http://schemas.microsoft.com/office/drawing/2014/main" id="{D3F048DC-11E5-4E3D-804A-57010F4CE03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7" name="Motion design">
                  <a:extLst>
                    <a:ext uri="{FF2B5EF4-FFF2-40B4-BE49-F238E27FC236}">
                      <a16:creationId xmlns:a16="http://schemas.microsoft.com/office/drawing/2014/main" id="{F3F8E6FC-7889-4BA0-9304-1CAC3406C0A0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2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99" name="Circle">
                  <a:extLst>
                    <a:ext uri="{FF2B5EF4-FFF2-40B4-BE49-F238E27FC236}">
                      <a16:creationId xmlns:a16="http://schemas.microsoft.com/office/drawing/2014/main" id="{47D45FC8-E78D-4AF5-AF7E-D34546D0DC5C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id="{ACDF4DF9-D297-4045-91C8-D73254B7099E}"/>
                  </a:ext>
                </a:extLst>
              </p:cNvPr>
              <p:cNvGrpSpPr/>
              <p:nvPr/>
            </p:nvGrpSpPr>
            <p:grpSpPr>
              <a:xfrm>
                <a:off x="2573576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105" name="Rounded Rectangle">
                  <a:extLst>
                    <a:ext uri="{FF2B5EF4-FFF2-40B4-BE49-F238E27FC236}">
                      <a16:creationId xmlns:a16="http://schemas.microsoft.com/office/drawing/2014/main" id="{B39CA848-83A9-4078-82F3-2FF6C61B3CCD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6" name="Motion design">
                  <a:extLst>
                    <a:ext uri="{FF2B5EF4-FFF2-40B4-BE49-F238E27FC236}">
                      <a16:creationId xmlns:a16="http://schemas.microsoft.com/office/drawing/2014/main" id="{E798D504-83C3-4AE5-ADB8-BB83F4084903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1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7" name="Circle">
                  <a:extLst>
                    <a:ext uri="{FF2B5EF4-FFF2-40B4-BE49-F238E27FC236}">
                      <a16:creationId xmlns:a16="http://schemas.microsoft.com/office/drawing/2014/main" id="{00BF57DF-0535-41D4-B634-B9BDFFCAB5A9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09" name="Прямая соединительная линия 108">
                <a:extLst>
                  <a:ext uri="{FF2B5EF4-FFF2-40B4-BE49-F238E27FC236}">
                    <a16:creationId xmlns:a16="http://schemas.microsoft.com/office/drawing/2014/main" id="{D9FB1C87-470D-4F15-B8DE-5D1BFDEAE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:a16="http://schemas.microsoft.com/office/drawing/2014/main" id="{FD40D7C9-42E4-4B88-BEC7-56559AC4B5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A21E93E-06EA-4F42-813B-D6D5F1E99516}"/>
              </a:ext>
            </a:extLst>
          </p:cNvPr>
          <p:cNvGrpSpPr/>
          <p:nvPr/>
        </p:nvGrpSpPr>
        <p:grpSpPr>
          <a:xfrm>
            <a:off x="12947801" y="1843788"/>
            <a:ext cx="4374910" cy="2524723"/>
            <a:chOff x="7510156" y="1843788"/>
            <a:chExt cx="4374910" cy="2524723"/>
          </a:xfrm>
        </p:grpSpPr>
        <p:sp>
          <p:nvSpPr>
            <p:cNvPr id="173" name="Описание">
              <a:extLst>
                <a:ext uri="{FF2B5EF4-FFF2-40B4-BE49-F238E27FC236}">
                  <a16:creationId xmlns:a16="http://schemas.microsoft.com/office/drawing/2014/main" id="{1AC620DD-884F-4A55-8D39-C169CD0D0F61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74" name="Shape_фон">
              <a:extLst>
                <a:ext uri="{FF2B5EF4-FFF2-40B4-BE49-F238E27FC236}">
                  <a16:creationId xmlns:a16="http://schemas.microsoft.com/office/drawing/2014/main" id="{55CE00B1-B275-4377-8335-2D48AE236DDA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8" name="Rounded Rectangle">
              <a:extLst>
                <a:ext uri="{FF2B5EF4-FFF2-40B4-BE49-F238E27FC236}">
                  <a16:creationId xmlns:a16="http://schemas.microsoft.com/office/drawing/2014/main" id="{78D7E6B5-CBEE-4670-8899-9B47E1A50092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9" name="Motion design">
              <a:extLst>
                <a:ext uri="{FF2B5EF4-FFF2-40B4-BE49-F238E27FC236}">
                  <a16:creationId xmlns:a16="http://schemas.microsoft.com/office/drawing/2014/main" id="{3211471C-BBAE-4998-81B7-634C03CF5298}"/>
                </a:ext>
              </a:extLst>
            </p:cNvPr>
            <p:cNvSpPr txBox="1"/>
            <p:nvPr/>
          </p:nvSpPr>
          <p:spPr>
            <a:xfrm>
              <a:off x="8622584" y="1976470"/>
              <a:ext cx="2087579" cy="3683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90" name="Circle">
              <a:extLst>
                <a:ext uri="{FF2B5EF4-FFF2-40B4-BE49-F238E27FC236}">
                  <a16:creationId xmlns:a16="http://schemas.microsoft.com/office/drawing/2014/main" id="{B00C36FD-12CC-4B17-B92F-434BB34C144F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7" name="Описание">
              <a:extLst>
                <a:ext uri="{FF2B5EF4-FFF2-40B4-BE49-F238E27FC236}">
                  <a16:creationId xmlns:a16="http://schemas.microsoft.com/office/drawing/2014/main" id="{30A26532-CEB0-4F5B-B0E6-8DD535C17DAE}"/>
                </a:ext>
              </a:extLst>
            </p:cNvPr>
            <p:cNvSpPr txBox="1"/>
            <p:nvPr/>
          </p:nvSpPr>
          <p:spPr>
            <a:xfrm>
              <a:off x="8111283" y="2667376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от ошибо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аспространение эталонны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повещения о проблема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тказоустойчивость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ниторинг качества данных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F8192D2-FEF5-4996-8216-C49F682F0DD5}"/>
              </a:ext>
            </a:extLst>
          </p:cNvPr>
          <p:cNvGrpSpPr/>
          <p:nvPr/>
        </p:nvGrpSpPr>
        <p:grpSpPr>
          <a:xfrm>
            <a:off x="3908545" y="7604826"/>
            <a:ext cx="4374910" cy="2524723"/>
            <a:chOff x="4277669" y="5358292"/>
            <a:chExt cx="4374910" cy="2524723"/>
          </a:xfrm>
        </p:grpSpPr>
        <p:sp>
          <p:nvSpPr>
            <p:cNvPr id="193" name="Описание">
              <a:extLst>
                <a:ext uri="{FF2B5EF4-FFF2-40B4-BE49-F238E27FC236}">
                  <a16:creationId xmlns:a16="http://schemas.microsoft.com/office/drawing/2014/main" id="{E110CD1F-A4D9-4C0D-8EE7-53FA6C6B7EF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94" name="Shape_фон">
              <a:extLst>
                <a:ext uri="{FF2B5EF4-FFF2-40B4-BE49-F238E27FC236}">
                  <a16:creationId xmlns:a16="http://schemas.microsoft.com/office/drawing/2014/main" id="{0DCED50D-620E-4072-B3F7-C41A04B9BC0E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093AB91-3F04-462B-A1CA-1BCD506FD2C9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3247C67B-EB3C-46A3-9FE1-0982259016F0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1EB54B95-3550-446E-B10B-2CC4023073B4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158CB3BB-0CC5-4BBF-AC3C-31709FC7423C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Описание">
              <a:extLst>
                <a:ext uri="{FF2B5EF4-FFF2-40B4-BE49-F238E27FC236}">
                  <a16:creationId xmlns:a16="http://schemas.microsoft.com/office/drawing/2014/main" id="{FAA7B90B-C98C-477A-AAB0-1F39821D29B5}"/>
                </a:ext>
              </a:extLst>
            </p:cNvPr>
            <p:cNvSpPr txBox="1"/>
            <p:nvPr/>
          </p:nvSpPr>
          <p:spPr>
            <a:xfrm>
              <a:off x="4690977" y="6206798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ментальное отображение приобретенных продуктов в Л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олерантность к ошибкам клиента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Легкость покупки новых услуг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Автоматическое обновление данных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65276505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58" name="Заголовок">
            <a:extLst>
              <a:ext uri="{FF2B5EF4-FFF2-40B4-BE49-F238E27FC236}">
                <a16:creationId xmlns:a16="http://schemas.microsoft.com/office/drawing/2014/main" id="{6ED08144-D8E6-4C5A-9E8B-25A20403DE22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59" name="Таймлайн">
            <a:extLst>
              <a:ext uri="{FF2B5EF4-FFF2-40B4-BE49-F238E27FC236}">
                <a16:creationId xmlns:a16="http://schemas.microsoft.com/office/drawing/2014/main" id="{733D32C9-07BF-40A5-91C6-051627E3F422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A3FD48E1-BE76-4104-9C76-7723CB27B273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1938A164-5A24-4651-B874-FE346A42E573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6A166B2F-9FED-4773-870F-DFA286090D17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90FF63B5-421C-4A02-A936-FBF139F61181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2048">
            <a:extLst>
              <a:ext uri="{FF2B5EF4-FFF2-40B4-BE49-F238E27FC236}">
                <a16:creationId xmlns:a16="http://schemas.microsoft.com/office/drawing/2014/main" id="{C4EF509A-3827-4542-ABA6-DDFFF089E85A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79" name="Freeform 23">
              <a:extLst>
                <a:ext uri="{FF2B5EF4-FFF2-40B4-BE49-F238E27FC236}">
                  <a16:creationId xmlns:a16="http://schemas.microsoft.com/office/drawing/2014/main" id="{E4BADAEC-7183-4467-84E2-6DC0F1ED7619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80" name="Freeform 24">
              <a:extLst>
                <a:ext uri="{FF2B5EF4-FFF2-40B4-BE49-F238E27FC236}">
                  <a16:creationId xmlns:a16="http://schemas.microsoft.com/office/drawing/2014/main" id="{D7238869-346A-4170-8FCC-D795131F38D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23306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5353106" y="23536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7731886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A21E93E-06EA-4F42-813B-D6D5F1E99516}"/>
              </a:ext>
            </a:extLst>
          </p:cNvPr>
          <p:cNvGrpSpPr/>
          <p:nvPr/>
        </p:nvGrpSpPr>
        <p:grpSpPr>
          <a:xfrm>
            <a:off x="7628913" y="2185554"/>
            <a:ext cx="4374910" cy="2524723"/>
            <a:chOff x="7510156" y="1843788"/>
            <a:chExt cx="4374910" cy="2524723"/>
          </a:xfrm>
        </p:grpSpPr>
        <p:sp>
          <p:nvSpPr>
            <p:cNvPr id="173" name="Описание">
              <a:extLst>
                <a:ext uri="{FF2B5EF4-FFF2-40B4-BE49-F238E27FC236}">
                  <a16:creationId xmlns:a16="http://schemas.microsoft.com/office/drawing/2014/main" id="{1AC620DD-884F-4A55-8D39-C169CD0D0F61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74" name="Shape_фон">
              <a:extLst>
                <a:ext uri="{FF2B5EF4-FFF2-40B4-BE49-F238E27FC236}">
                  <a16:creationId xmlns:a16="http://schemas.microsoft.com/office/drawing/2014/main" id="{55CE00B1-B275-4377-8335-2D48AE236DDA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8" name="Rounded Rectangle">
              <a:extLst>
                <a:ext uri="{FF2B5EF4-FFF2-40B4-BE49-F238E27FC236}">
                  <a16:creationId xmlns:a16="http://schemas.microsoft.com/office/drawing/2014/main" id="{78D7E6B5-CBEE-4670-8899-9B47E1A50092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9" name="Motion design">
              <a:extLst>
                <a:ext uri="{FF2B5EF4-FFF2-40B4-BE49-F238E27FC236}">
                  <a16:creationId xmlns:a16="http://schemas.microsoft.com/office/drawing/2014/main" id="{3211471C-BBAE-4998-81B7-634C03CF5298}"/>
                </a:ext>
              </a:extLst>
            </p:cNvPr>
            <p:cNvSpPr txBox="1"/>
            <p:nvPr/>
          </p:nvSpPr>
          <p:spPr>
            <a:xfrm>
              <a:off x="8622584" y="1976470"/>
              <a:ext cx="2087579" cy="3683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90" name="Circle">
              <a:extLst>
                <a:ext uri="{FF2B5EF4-FFF2-40B4-BE49-F238E27FC236}">
                  <a16:creationId xmlns:a16="http://schemas.microsoft.com/office/drawing/2014/main" id="{B00C36FD-12CC-4B17-B92F-434BB34C144F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7" name="Описание">
              <a:extLst>
                <a:ext uri="{FF2B5EF4-FFF2-40B4-BE49-F238E27FC236}">
                  <a16:creationId xmlns:a16="http://schemas.microsoft.com/office/drawing/2014/main" id="{30A26532-CEB0-4F5B-B0E6-8DD535C17DAE}"/>
                </a:ext>
              </a:extLst>
            </p:cNvPr>
            <p:cNvSpPr txBox="1"/>
            <p:nvPr/>
          </p:nvSpPr>
          <p:spPr>
            <a:xfrm>
              <a:off x="8111283" y="2667376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от ошибо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аспространение эталонны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повещения о проблема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тказоустойчивость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ниторинг качества данных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F8192D2-FEF5-4996-8216-C49F682F0DD5}"/>
              </a:ext>
            </a:extLst>
          </p:cNvPr>
          <p:cNvGrpSpPr/>
          <p:nvPr/>
        </p:nvGrpSpPr>
        <p:grpSpPr>
          <a:xfrm>
            <a:off x="3908545" y="7409036"/>
            <a:ext cx="4374910" cy="2524723"/>
            <a:chOff x="4277669" y="5358292"/>
            <a:chExt cx="4374910" cy="2524723"/>
          </a:xfrm>
        </p:grpSpPr>
        <p:sp>
          <p:nvSpPr>
            <p:cNvPr id="193" name="Описание">
              <a:extLst>
                <a:ext uri="{FF2B5EF4-FFF2-40B4-BE49-F238E27FC236}">
                  <a16:creationId xmlns:a16="http://schemas.microsoft.com/office/drawing/2014/main" id="{E110CD1F-A4D9-4C0D-8EE7-53FA6C6B7EF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94" name="Shape_фон">
              <a:extLst>
                <a:ext uri="{FF2B5EF4-FFF2-40B4-BE49-F238E27FC236}">
                  <a16:creationId xmlns:a16="http://schemas.microsoft.com/office/drawing/2014/main" id="{0DCED50D-620E-4072-B3F7-C41A04B9BC0E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093AB91-3F04-462B-A1CA-1BCD506FD2C9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3247C67B-EB3C-46A3-9FE1-0982259016F0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1EB54B95-3550-446E-B10B-2CC4023073B4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158CB3BB-0CC5-4BBF-AC3C-31709FC7423C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Описание">
              <a:extLst>
                <a:ext uri="{FF2B5EF4-FFF2-40B4-BE49-F238E27FC236}">
                  <a16:creationId xmlns:a16="http://schemas.microsoft.com/office/drawing/2014/main" id="{FAA7B90B-C98C-477A-AAB0-1F39821D29B5}"/>
                </a:ext>
              </a:extLst>
            </p:cNvPr>
            <p:cNvSpPr txBox="1"/>
            <p:nvPr/>
          </p:nvSpPr>
          <p:spPr>
            <a:xfrm>
              <a:off x="4690977" y="6206798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ментальное отображение приобретенных продуктов в Л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олерантность к ошибкам клиента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Легкость покупки новых услуг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Автоматическое обновление данных</a:t>
              </a:r>
            </a:p>
          </p:txBody>
        </p:sp>
      </p:grp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CC0C0487-606C-42E7-9511-6E536B2FE596}"/>
              </a:ext>
            </a:extLst>
          </p:cNvPr>
          <p:cNvGrpSpPr/>
          <p:nvPr/>
        </p:nvGrpSpPr>
        <p:grpSpPr>
          <a:xfrm>
            <a:off x="1074976" y="2458834"/>
            <a:ext cx="3130164" cy="2183864"/>
            <a:chOff x="256506" y="1843788"/>
            <a:chExt cx="4374910" cy="3052303"/>
          </a:xfrm>
        </p:grpSpPr>
        <p:sp>
          <p:nvSpPr>
            <p:cNvPr id="117" name="Описание">
              <a:extLst>
                <a:ext uri="{FF2B5EF4-FFF2-40B4-BE49-F238E27FC236}">
                  <a16:creationId xmlns:a16="http://schemas.microsoft.com/office/drawing/2014/main" id="{F81E1CC0-14D9-400E-83D5-0FD2991ED86B}"/>
                </a:ext>
              </a:extLst>
            </p:cNvPr>
            <p:cNvSpPr txBox="1"/>
            <p:nvPr/>
          </p:nvSpPr>
          <p:spPr>
            <a:xfrm>
              <a:off x="2387904" y="3510436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18" name="Shape_фон">
              <a:extLst>
                <a:ext uri="{FF2B5EF4-FFF2-40B4-BE49-F238E27FC236}">
                  <a16:creationId xmlns:a16="http://schemas.microsoft.com/office/drawing/2014/main" id="{16E7836A-949E-4E1D-88BD-C33B436C4FCB}"/>
                </a:ext>
              </a:extLst>
            </p:cNvPr>
            <p:cNvSpPr/>
            <p:nvPr/>
          </p:nvSpPr>
          <p:spPr>
            <a:xfrm>
              <a:off x="256506" y="2166638"/>
              <a:ext cx="4374910" cy="272945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19" name="Группа 118">
              <a:extLst>
                <a:ext uri="{FF2B5EF4-FFF2-40B4-BE49-F238E27FC236}">
                  <a16:creationId xmlns:a16="http://schemas.microsoft.com/office/drawing/2014/main" id="{853D0F1F-7E25-416A-B9CA-C8F08DB5A21D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132" name="Rounded Rectangle">
                <a:extLst>
                  <a:ext uri="{FF2B5EF4-FFF2-40B4-BE49-F238E27FC236}">
                    <a16:creationId xmlns:a16="http://schemas.microsoft.com/office/drawing/2014/main" id="{7B8AA18E-31DC-4339-B920-52967902996F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33" name="Motion design">
                <a:extLst>
                  <a:ext uri="{FF2B5EF4-FFF2-40B4-BE49-F238E27FC236}">
                    <a16:creationId xmlns:a16="http://schemas.microsoft.com/office/drawing/2014/main" id="{AEBA8621-8CCA-4F4F-A553-D6B94FDC66C0}"/>
                  </a:ext>
                </a:extLst>
              </p:cNvPr>
              <p:cNvSpPr txBox="1"/>
              <p:nvPr/>
            </p:nvSpPr>
            <p:spPr>
              <a:xfrm>
                <a:off x="7232363" y="1788777"/>
                <a:ext cx="2738754" cy="36729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34" name="Circle">
                <a:extLst>
                  <a:ext uri="{FF2B5EF4-FFF2-40B4-BE49-F238E27FC236}">
                    <a16:creationId xmlns:a16="http://schemas.microsoft.com/office/drawing/2014/main" id="{76C04E7B-B0FF-490C-BBA3-70CEE36F8A82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20" name="Группа 119">
              <a:extLst>
                <a:ext uri="{FF2B5EF4-FFF2-40B4-BE49-F238E27FC236}">
                  <a16:creationId xmlns:a16="http://schemas.microsoft.com/office/drawing/2014/main" id="{CC1D790F-D711-41F2-80E0-8AF1910188E1}"/>
                </a:ext>
              </a:extLst>
            </p:cNvPr>
            <p:cNvGrpSpPr/>
            <p:nvPr/>
          </p:nvGrpSpPr>
          <p:grpSpPr>
            <a:xfrm>
              <a:off x="703386" y="2614465"/>
              <a:ext cx="3548295" cy="1957166"/>
              <a:chOff x="514706" y="2586432"/>
              <a:chExt cx="3548295" cy="1957166"/>
            </a:xfrm>
          </p:grpSpPr>
          <p:sp>
            <p:nvSpPr>
              <p:cNvPr id="121" name="Описание">
                <a:extLst>
                  <a:ext uri="{FF2B5EF4-FFF2-40B4-BE49-F238E27FC236}">
                    <a16:creationId xmlns:a16="http://schemas.microsoft.com/office/drawing/2014/main" id="{4BE82D6F-EDB1-437B-A0FE-254BFEC58A2D}"/>
                  </a:ext>
                </a:extLst>
              </p:cNvPr>
              <p:cNvSpPr txBox="1"/>
              <p:nvPr/>
            </p:nvSpPr>
            <p:spPr>
              <a:xfrm>
                <a:off x="514706" y="3059520"/>
                <a:ext cx="3548295" cy="14840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роверка по черным спискам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чет согласий при коммуникаци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прощение отчетност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Точная сегмент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бота с </a:t>
                </a:r>
                <a:r>
                  <a:rPr lang="ru-RU" sz="9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лидами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VIPами</a:t>
                </a:r>
                <a:endPara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ыбор лучших контактов</a:t>
                </a:r>
              </a:p>
            </p:txBody>
          </p:sp>
          <p:grpSp>
            <p:nvGrpSpPr>
              <p:cNvPr id="122" name="Группа 121">
                <a:extLst>
                  <a:ext uri="{FF2B5EF4-FFF2-40B4-BE49-F238E27FC236}">
                    <a16:creationId xmlns:a16="http://schemas.microsoft.com/office/drawing/2014/main" id="{35A77F0F-E911-46A1-90BF-B55092A03162}"/>
                  </a:ext>
                </a:extLst>
              </p:cNvPr>
              <p:cNvGrpSpPr/>
              <p:nvPr/>
            </p:nvGrpSpPr>
            <p:grpSpPr>
              <a:xfrm>
                <a:off x="1317800" y="2591524"/>
                <a:ext cx="1163147" cy="254942"/>
                <a:chOff x="6510195" y="1556711"/>
                <a:chExt cx="4389122" cy="962019"/>
              </a:xfrm>
            </p:grpSpPr>
            <p:sp>
              <p:nvSpPr>
                <p:cNvPr id="129" name="Rounded Rectangle">
                  <a:extLst>
                    <a:ext uri="{FF2B5EF4-FFF2-40B4-BE49-F238E27FC236}">
                      <a16:creationId xmlns:a16="http://schemas.microsoft.com/office/drawing/2014/main" id="{32FB487F-C379-46BE-BD79-EB17D2A79E4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30" name="Motion design">
                  <a:extLst>
                    <a:ext uri="{FF2B5EF4-FFF2-40B4-BE49-F238E27FC236}">
                      <a16:creationId xmlns:a16="http://schemas.microsoft.com/office/drawing/2014/main" id="{A2A5CFB4-561A-405C-B58C-1AC595463299}"/>
                    </a:ext>
                  </a:extLst>
                </p:cNvPr>
                <p:cNvSpPr txBox="1"/>
                <p:nvPr/>
              </p:nvSpPr>
              <p:spPr>
                <a:xfrm>
                  <a:off x="7097979" y="1585512"/>
                  <a:ext cx="3691422" cy="768330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8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2 сек</a:t>
                  </a:r>
                  <a:endPara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31" name="Circle">
                  <a:extLst>
                    <a:ext uri="{FF2B5EF4-FFF2-40B4-BE49-F238E27FC236}">
                      <a16:creationId xmlns:a16="http://schemas.microsoft.com/office/drawing/2014/main" id="{A55C4738-E65C-438E-804C-A0092F3EDC89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23" name="Группа 122">
                <a:extLst>
                  <a:ext uri="{FF2B5EF4-FFF2-40B4-BE49-F238E27FC236}">
                    <a16:creationId xmlns:a16="http://schemas.microsoft.com/office/drawing/2014/main" id="{1B74BB8F-36FC-482F-9563-CC0F9E44AB16}"/>
                  </a:ext>
                </a:extLst>
              </p:cNvPr>
              <p:cNvGrpSpPr/>
              <p:nvPr/>
            </p:nvGrpSpPr>
            <p:grpSpPr>
              <a:xfrm>
                <a:off x="2573576" y="2586432"/>
                <a:ext cx="1163147" cy="260034"/>
                <a:chOff x="6510195" y="1537497"/>
                <a:chExt cx="4389122" cy="981233"/>
              </a:xfrm>
            </p:grpSpPr>
            <p:sp>
              <p:nvSpPr>
                <p:cNvPr id="126" name="Rounded Rectangle">
                  <a:extLst>
                    <a:ext uri="{FF2B5EF4-FFF2-40B4-BE49-F238E27FC236}">
                      <a16:creationId xmlns:a16="http://schemas.microsoft.com/office/drawing/2014/main" id="{D47A868F-88C6-496B-A020-F8B7816CC14A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27" name="Motion design">
                  <a:extLst>
                    <a:ext uri="{FF2B5EF4-FFF2-40B4-BE49-F238E27FC236}">
                      <a16:creationId xmlns:a16="http://schemas.microsoft.com/office/drawing/2014/main" id="{5A2EE8E4-C7E5-47A0-B11B-C7B61F3DFF82}"/>
                    </a:ext>
                  </a:extLst>
                </p:cNvPr>
                <p:cNvSpPr txBox="1"/>
                <p:nvPr/>
              </p:nvSpPr>
              <p:spPr>
                <a:xfrm>
                  <a:off x="7097979" y="1537497"/>
                  <a:ext cx="3691422" cy="86436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1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28" name="Circle">
                  <a:extLst>
                    <a:ext uri="{FF2B5EF4-FFF2-40B4-BE49-F238E27FC236}">
                      <a16:creationId xmlns:a16="http://schemas.microsoft.com/office/drawing/2014/main" id="{05ED107C-FA49-4265-9D0B-117556013005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24" name="Прямая соединительная линия 123">
                <a:extLst>
                  <a:ext uri="{FF2B5EF4-FFF2-40B4-BE49-F238E27FC236}">
                    <a16:creationId xmlns:a16="http://schemas.microsoft.com/office/drawing/2014/main" id="{609F7E6B-1809-474A-94FC-D2E8C1E1244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5" name="Прямая соединительная линия 124">
                <a:extLst>
                  <a:ext uri="{FF2B5EF4-FFF2-40B4-BE49-F238E27FC236}">
                    <a16:creationId xmlns:a16="http://schemas.microsoft.com/office/drawing/2014/main" id="{9B6C9E07-2DCD-4853-9C94-4E8A2CEE55E0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385764479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58" name="Заголовок">
            <a:extLst>
              <a:ext uri="{FF2B5EF4-FFF2-40B4-BE49-F238E27FC236}">
                <a16:creationId xmlns:a16="http://schemas.microsoft.com/office/drawing/2014/main" id="{6ED08144-D8E6-4C5A-9E8B-25A20403DE22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59" name="Таймлайн">
            <a:extLst>
              <a:ext uri="{FF2B5EF4-FFF2-40B4-BE49-F238E27FC236}">
                <a16:creationId xmlns:a16="http://schemas.microsoft.com/office/drawing/2014/main" id="{733D32C9-07BF-40A5-91C6-051627E3F422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A3FD48E1-BE76-4104-9C76-7723CB27B273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Прямая соединительная линия 60">
            <a:extLst>
              <a:ext uri="{FF2B5EF4-FFF2-40B4-BE49-F238E27FC236}">
                <a16:creationId xmlns:a16="http://schemas.microsoft.com/office/drawing/2014/main" id="{1938A164-5A24-4651-B874-FE346A42E573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6A166B2F-9FED-4773-870F-DFA286090D17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>
            <a:extLst>
              <a:ext uri="{FF2B5EF4-FFF2-40B4-BE49-F238E27FC236}">
                <a16:creationId xmlns:a16="http://schemas.microsoft.com/office/drawing/2014/main" id="{90FF63B5-421C-4A02-A936-FBF139F61181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8" name="Group 2048">
            <a:extLst>
              <a:ext uri="{FF2B5EF4-FFF2-40B4-BE49-F238E27FC236}">
                <a16:creationId xmlns:a16="http://schemas.microsoft.com/office/drawing/2014/main" id="{C4EF509A-3827-4542-ABA6-DDFFF089E85A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79" name="Freeform 23">
              <a:extLst>
                <a:ext uri="{FF2B5EF4-FFF2-40B4-BE49-F238E27FC236}">
                  <a16:creationId xmlns:a16="http://schemas.microsoft.com/office/drawing/2014/main" id="{E4BADAEC-7183-4467-84E2-6DC0F1ED7619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80" name="Freeform 24">
              <a:extLst>
                <a:ext uri="{FF2B5EF4-FFF2-40B4-BE49-F238E27FC236}">
                  <a16:creationId xmlns:a16="http://schemas.microsoft.com/office/drawing/2014/main" id="{D7238869-346A-4170-8FCC-D795131F38D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17851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5353106" y="18081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2333012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A21E93E-06EA-4F42-813B-D6D5F1E99516}"/>
              </a:ext>
            </a:extLst>
          </p:cNvPr>
          <p:cNvGrpSpPr/>
          <p:nvPr/>
        </p:nvGrpSpPr>
        <p:grpSpPr>
          <a:xfrm>
            <a:off x="7628913" y="2037648"/>
            <a:ext cx="3154218" cy="1820272"/>
            <a:chOff x="7510156" y="1843788"/>
            <a:chExt cx="4374910" cy="2524723"/>
          </a:xfrm>
        </p:grpSpPr>
        <p:sp>
          <p:nvSpPr>
            <p:cNvPr id="173" name="Описание">
              <a:extLst>
                <a:ext uri="{FF2B5EF4-FFF2-40B4-BE49-F238E27FC236}">
                  <a16:creationId xmlns:a16="http://schemas.microsoft.com/office/drawing/2014/main" id="{1AC620DD-884F-4A55-8D39-C169CD0D0F61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74" name="Shape_фон">
              <a:extLst>
                <a:ext uri="{FF2B5EF4-FFF2-40B4-BE49-F238E27FC236}">
                  <a16:creationId xmlns:a16="http://schemas.microsoft.com/office/drawing/2014/main" id="{55CE00B1-B275-4377-8335-2D48AE236DDA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8" name="Rounded Rectangle">
              <a:extLst>
                <a:ext uri="{FF2B5EF4-FFF2-40B4-BE49-F238E27FC236}">
                  <a16:creationId xmlns:a16="http://schemas.microsoft.com/office/drawing/2014/main" id="{78D7E6B5-CBEE-4670-8899-9B47E1A50092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9" name="Motion design">
              <a:extLst>
                <a:ext uri="{FF2B5EF4-FFF2-40B4-BE49-F238E27FC236}">
                  <a16:creationId xmlns:a16="http://schemas.microsoft.com/office/drawing/2014/main" id="{3211471C-BBAE-4998-81B7-634C03CF5298}"/>
                </a:ext>
              </a:extLst>
            </p:cNvPr>
            <p:cNvSpPr txBox="1"/>
            <p:nvPr/>
          </p:nvSpPr>
          <p:spPr>
            <a:xfrm>
              <a:off x="8622584" y="2021746"/>
              <a:ext cx="2087580" cy="27783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90" name="Circle">
              <a:extLst>
                <a:ext uri="{FF2B5EF4-FFF2-40B4-BE49-F238E27FC236}">
                  <a16:creationId xmlns:a16="http://schemas.microsoft.com/office/drawing/2014/main" id="{B00C36FD-12CC-4B17-B92F-434BB34C144F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7" name="Описание">
              <a:extLst>
                <a:ext uri="{FF2B5EF4-FFF2-40B4-BE49-F238E27FC236}">
                  <a16:creationId xmlns:a16="http://schemas.microsoft.com/office/drawing/2014/main" id="{30A26532-CEB0-4F5B-B0E6-8DD535C17DAE}"/>
                </a:ext>
              </a:extLst>
            </p:cNvPr>
            <p:cNvSpPr txBox="1"/>
            <p:nvPr/>
          </p:nvSpPr>
          <p:spPr>
            <a:xfrm>
              <a:off x="8111283" y="2667377"/>
              <a:ext cx="3548295" cy="128066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от ошибо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аспространение эталонны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повещения о проблема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тказоустойчивость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ниторинг качества данных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F8192D2-FEF5-4996-8216-C49F682F0DD5}"/>
              </a:ext>
            </a:extLst>
          </p:cNvPr>
          <p:cNvGrpSpPr/>
          <p:nvPr/>
        </p:nvGrpSpPr>
        <p:grpSpPr>
          <a:xfrm>
            <a:off x="3908545" y="4150381"/>
            <a:ext cx="4374910" cy="2524723"/>
            <a:chOff x="4277669" y="5358292"/>
            <a:chExt cx="4374910" cy="2524723"/>
          </a:xfrm>
        </p:grpSpPr>
        <p:sp>
          <p:nvSpPr>
            <p:cNvPr id="193" name="Описание">
              <a:extLst>
                <a:ext uri="{FF2B5EF4-FFF2-40B4-BE49-F238E27FC236}">
                  <a16:creationId xmlns:a16="http://schemas.microsoft.com/office/drawing/2014/main" id="{E110CD1F-A4D9-4C0D-8EE7-53FA6C6B7EF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94" name="Shape_фон">
              <a:extLst>
                <a:ext uri="{FF2B5EF4-FFF2-40B4-BE49-F238E27FC236}">
                  <a16:creationId xmlns:a16="http://schemas.microsoft.com/office/drawing/2014/main" id="{0DCED50D-620E-4072-B3F7-C41A04B9BC0E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093AB91-3F04-462B-A1CA-1BCD506FD2C9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3247C67B-EB3C-46A3-9FE1-0982259016F0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1EB54B95-3550-446E-B10B-2CC4023073B4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158CB3BB-0CC5-4BBF-AC3C-31709FC7423C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Описание">
              <a:extLst>
                <a:ext uri="{FF2B5EF4-FFF2-40B4-BE49-F238E27FC236}">
                  <a16:creationId xmlns:a16="http://schemas.microsoft.com/office/drawing/2014/main" id="{FAA7B90B-C98C-477A-AAB0-1F39821D29B5}"/>
                </a:ext>
              </a:extLst>
            </p:cNvPr>
            <p:cNvSpPr txBox="1"/>
            <p:nvPr/>
          </p:nvSpPr>
          <p:spPr>
            <a:xfrm>
              <a:off x="4690977" y="6206798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Моментальное отображение приобретенных продуктов в ЛК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олерантность к ошибкам клиента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Легкость покупки новых услуг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Автоматическое обновление данных</a:t>
              </a: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9086E00C-CB91-4B73-A9B4-3B531FB79911}"/>
              </a:ext>
            </a:extLst>
          </p:cNvPr>
          <p:cNvGrpSpPr/>
          <p:nvPr/>
        </p:nvGrpSpPr>
        <p:grpSpPr>
          <a:xfrm>
            <a:off x="1160992" y="1860774"/>
            <a:ext cx="3130164" cy="2183864"/>
            <a:chOff x="256506" y="1843788"/>
            <a:chExt cx="4374910" cy="3052303"/>
          </a:xfrm>
        </p:grpSpPr>
        <p:sp>
          <p:nvSpPr>
            <p:cNvPr id="68" name="Описание">
              <a:extLst>
                <a:ext uri="{FF2B5EF4-FFF2-40B4-BE49-F238E27FC236}">
                  <a16:creationId xmlns:a16="http://schemas.microsoft.com/office/drawing/2014/main" id="{3068A1FE-ADF5-4EAF-BA95-DCFB66F3A6E8}"/>
                </a:ext>
              </a:extLst>
            </p:cNvPr>
            <p:cNvSpPr txBox="1"/>
            <p:nvPr/>
          </p:nvSpPr>
          <p:spPr>
            <a:xfrm>
              <a:off x="2387904" y="3510436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69" name="Shape_фон">
              <a:extLst>
                <a:ext uri="{FF2B5EF4-FFF2-40B4-BE49-F238E27FC236}">
                  <a16:creationId xmlns:a16="http://schemas.microsoft.com/office/drawing/2014/main" id="{AD0E8A61-79A9-4041-8DC8-174A85BFAAC7}"/>
                </a:ext>
              </a:extLst>
            </p:cNvPr>
            <p:cNvSpPr/>
            <p:nvPr/>
          </p:nvSpPr>
          <p:spPr>
            <a:xfrm>
              <a:off x="256506" y="2166638"/>
              <a:ext cx="4374910" cy="272945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71" name="Группа 70">
              <a:extLst>
                <a:ext uri="{FF2B5EF4-FFF2-40B4-BE49-F238E27FC236}">
                  <a16:creationId xmlns:a16="http://schemas.microsoft.com/office/drawing/2014/main" id="{4FB69F75-E2B4-4D6E-8BD9-B942BFD0B728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108" name="Rounded Rectangle">
                <a:extLst>
                  <a:ext uri="{FF2B5EF4-FFF2-40B4-BE49-F238E27FC236}">
                    <a16:creationId xmlns:a16="http://schemas.microsoft.com/office/drawing/2014/main" id="{40DBD74E-B4A1-4EB8-ABE4-8876627A3FDA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1" name="Motion design">
                <a:extLst>
                  <a:ext uri="{FF2B5EF4-FFF2-40B4-BE49-F238E27FC236}">
                    <a16:creationId xmlns:a16="http://schemas.microsoft.com/office/drawing/2014/main" id="{E39A42CB-6FE3-4BE2-9D19-E9F57C484552}"/>
                  </a:ext>
                </a:extLst>
              </p:cNvPr>
              <p:cNvSpPr txBox="1"/>
              <p:nvPr/>
            </p:nvSpPr>
            <p:spPr>
              <a:xfrm>
                <a:off x="7232363" y="1788777"/>
                <a:ext cx="2738754" cy="36729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F2DCFA0D-1082-408C-B287-0CDD1279820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72" name="Группа 71">
              <a:extLst>
                <a:ext uri="{FF2B5EF4-FFF2-40B4-BE49-F238E27FC236}">
                  <a16:creationId xmlns:a16="http://schemas.microsoft.com/office/drawing/2014/main" id="{61C302A9-1D4C-4634-B401-1D2787056143}"/>
                </a:ext>
              </a:extLst>
            </p:cNvPr>
            <p:cNvGrpSpPr/>
            <p:nvPr/>
          </p:nvGrpSpPr>
          <p:grpSpPr>
            <a:xfrm>
              <a:off x="703386" y="2614465"/>
              <a:ext cx="3548295" cy="1957166"/>
              <a:chOff x="514706" y="2586432"/>
              <a:chExt cx="3548295" cy="1957166"/>
            </a:xfrm>
          </p:grpSpPr>
          <p:sp>
            <p:nvSpPr>
              <p:cNvPr id="73" name="Описание">
                <a:extLst>
                  <a:ext uri="{FF2B5EF4-FFF2-40B4-BE49-F238E27FC236}">
                    <a16:creationId xmlns:a16="http://schemas.microsoft.com/office/drawing/2014/main" id="{9486414B-A2CE-4125-B0E7-3A55918DB3FD}"/>
                  </a:ext>
                </a:extLst>
              </p:cNvPr>
              <p:cNvSpPr txBox="1"/>
              <p:nvPr/>
            </p:nvSpPr>
            <p:spPr>
              <a:xfrm>
                <a:off x="514706" y="3059520"/>
                <a:ext cx="3548295" cy="148407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роверка по черным спискам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чет согласий при коммуникаци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Упрощение отчетности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Точная сегмент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бота с </a:t>
                </a:r>
                <a:r>
                  <a:rPr lang="ru-RU" sz="9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лидами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VIPами</a:t>
                </a:r>
                <a:endPara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ыбор лучших контактов</a:t>
                </a:r>
              </a:p>
            </p:txBody>
          </p:sp>
          <p:grpSp>
            <p:nvGrpSpPr>
              <p:cNvPr id="74" name="Группа 73">
                <a:extLst>
                  <a:ext uri="{FF2B5EF4-FFF2-40B4-BE49-F238E27FC236}">
                    <a16:creationId xmlns:a16="http://schemas.microsoft.com/office/drawing/2014/main" id="{D0A0A25C-7866-401E-9DE7-8A38E0AAA54D}"/>
                  </a:ext>
                </a:extLst>
              </p:cNvPr>
              <p:cNvGrpSpPr/>
              <p:nvPr/>
            </p:nvGrpSpPr>
            <p:grpSpPr>
              <a:xfrm>
                <a:off x="1317800" y="2591524"/>
                <a:ext cx="1163147" cy="254942"/>
                <a:chOff x="6510195" y="1556711"/>
                <a:chExt cx="4389122" cy="962019"/>
              </a:xfrm>
            </p:grpSpPr>
            <p:sp>
              <p:nvSpPr>
                <p:cNvPr id="102" name="Rounded Rectangle">
                  <a:extLst>
                    <a:ext uri="{FF2B5EF4-FFF2-40B4-BE49-F238E27FC236}">
                      <a16:creationId xmlns:a16="http://schemas.microsoft.com/office/drawing/2014/main" id="{61871A18-6E9B-4F13-A86D-7E0189EA68BE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3" name="Motion design">
                  <a:extLst>
                    <a:ext uri="{FF2B5EF4-FFF2-40B4-BE49-F238E27FC236}">
                      <a16:creationId xmlns:a16="http://schemas.microsoft.com/office/drawing/2014/main" id="{9157F810-2F34-459C-9A0B-62BE4771B36D}"/>
                    </a:ext>
                  </a:extLst>
                </p:cNvPr>
                <p:cNvSpPr txBox="1"/>
                <p:nvPr/>
              </p:nvSpPr>
              <p:spPr>
                <a:xfrm>
                  <a:off x="7097979" y="1585512"/>
                  <a:ext cx="3691422" cy="768330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8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2 сек</a:t>
                  </a:r>
                  <a:endPara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4" name="Circle">
                  <a:extLst>
                    <a:ext uri="{FF2B5EF4-FFF2-40B4-BE49-F238E27FC236}">
                      <a16:creationId xmlns:a16="http://schemas.microsoft.com/office/drawing/2014/main" id="{914E3418-4BD4-47E7-B684-44D1B66A693C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75" name="Группа 74">
                <a:extLst>
                  <a:ext uri="{FF2B5EF4-FFF2-40B4-BE49-F238E27FC236}">
                    <a16:creationId xmlns:a16="http://schemas.microsoft.com/office/drawing/2014/main" id="{EAB2781C-D79F-42D0-882D-FBD905E88EFA}"/>
                  </a:ext>
                </a:extLst>
              </p:cNvPr>
              <p:cNvGrpSpPr/>
              <p:nvPr/>
            </p:nvGrpSpPr>
            <p:grpSpPr>
              <a:xfrm>
                <a:off x="2573576" y="2586432"/>
                <a:ext cx="1163147" cy="260034"/>
                <a:chOff x="6510195" y="1537497"/>
                <a:chExt cx="4389122" cy="981233"/>
              </a:xfrm>
            </p:grpSpPr>
            <p:sp>
              <p:nvSpPr>
                <p:cNvPr id="93" name="Rounded Rectangle">
                  <a:extLst>
                    <a:ext uri="{FF2B5EF4-FFF2-40B4-BE49-F238E27FC236}">
                      <a16:creationId xmlns:a16="http://schemas.microsoft.com/office/drawing/2014/main" id="{2ECCF557-6C72-4C53-8354-9F2749C2B1FD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8" name="Motion design">
                  <a:extLst>
                    <a:ext uri="{FF2B5EF4-FFF2-40B4-BE49-F238E27FC236}">
                      <a16:creationId xmlns:a16="http://schemas.microsoft.com/office/drawing/2014/main" id="{A1CC0343-C7B5-448A-9324-F045035717BA}"/>
                    </a:ext>
                  </a:extLst>
                </p:cNvPr>
                <p:cNvSpPr txBox="1"/>
                <p:nvPr/>
              </p:nvSpPr>
              <p:spPr>
                <a:xfrm>
                  <a:off x="7097979" y="1537497"/>
                  <a:ext cx="3691422" cy="86436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1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1" name="Circle">
                  <a:extLst>
                    <a:ext uri="{FF2B5EF4-FFF2-40B4-BE49-F238E27FC236}">
                      <a16:creationId xmlns:a16="http://schemas.microsoft.com/office/drawing/2014/main" id="{C58483B7-4599-46CE-B8C9-4522330C6DE1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76" name="Прямая соединительная линия 75">
                <a:extLst>
                  <a:ext uri="{FF2B5EF4-FFF2-40B4-BE49-F238E27FC236}">
                    <a16:creationId xmlns:a16="http://schemas.microsoft.com/office/drawing/2014/main" id="{6F56CCAB-F0DD-49B1-B85B-E85D89D4D08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Прямая соединительная линия 76">
                <a:extLst>
                  <a:ext uri="{FF2B5EF4-FFF2-40B4-BE49-F238E27FC236}">
                    <a16:creationId xmlns:a16="http://schemas.microsoft.com/office/drawing/2014/main" id="{5581E3AE-A1B1-4452-BF3D-45810BE6BE8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464E05A6-E1CE-4968-A5E0-D33B50633E71}"/>
              </a:ext>
            </a:extLst>
          </p:cNvPr>
          <p:cNvGrpSpPr/>
          <p:nvPr/>
        </p:nvGrpSpPr>
        <p:grpSpPr>
          <a:xfrm>
            <a:off x="13041596" y="2240125"/>
            <a:ext cx="2244096" cy="2395022"/>
            <a:chOff x="9598897" y="2240125"/>
            <a:chExt cx="2244096" cy="2395022"/>
          </a:xfrm>
        </p:grpSpPr>
        <p:sp>
          <p:nvSpPr>
            <p:cNvPr id="114" name="Shape_фон">
              <a:extLst>
                <a:ext uri="{FF2B5EF4-FFF2-40B4-BE49-F238E27FC236}">
                  <a16:creationId xmlns:a16="http://schemas.microsoft.com/office/drawing/2014/main" id="{12064435-9F5D-43D1-B337-C12C0580450C}"/>
                </a:ext>
              </a:extLst>
            </p:cNvPr>
            <p:cNvSpPr/>
            <p:nvPr/>
          </p:nvSpPr>
          <p:spPr>
            <a:xfrm>
              <a:off x="9598897" y="2240125"/>
              <a:ext cx="2244096" cy="23950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5" name="Описание">
              <a:extLst>
                <a:ext uri="{FF2B5EF4-FFF2-40B4-BE49-F238E27FC236}">
                  <a16:creationId xmlns:a16="http://schemas.microsoft.com/office/drawing/2014/main" id="{62F8D078-EF7D-413A-B955-9B4594AA3918}"/>
                </a:ext>
              </a:extLst>
            </p:cNvPr>
            <p:cNvSpPr txBox="1"/>
            <p:nvPr/>
          </p:nvSpPr>
          <p:spPr>
            <a:xfrm>
              <a:off x="9815863" y="2390787"/>
              <a:ext cx="18085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: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Стадия 4</a:t>
              </a:r>
            </a:p>
          </p:txBody>
        </p:sp>
        <p:pic>
          <p:nvPicPr>
            <p:cNvPr id="116" name="Рисунок 115">
              <a:extLst>
                <a:ext uri="{FF2B5EF4-FFF2-40B4-BE49-F238E27FC236}">
                  <a16:creationId xmlns:a16="http://schemas.microsoft.com/office/drawing/2014/main" id="{A95A0F6D-E85F-4132-950E-21C6C8D8C9F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790580" y="2813680"/>
              <a:ext cx="1897685" cy="1821467"/>
            </a:xfrm>
            <a:prstGeom prst="rect">
              <a:avLst/>
            </a:prstGeom>
          </p:spPr>
        </p:pic>
      </p:grpSp>
      <p:grpSp>
        <p:nvGrpSpPr>
          <p:cNvPr id="117" name="Группа 116">
            <a:extLst>
              <a:ext uri="{FF2B5EF4-FFF2-40B4-BE49-F238E27FC236}">
                <a16:creationId xmlns:a16="http://schemas.microsoft.com/office/drawing/2014/main" id="{2B1BDFFF-A116-4EEF-9686-577C842FBF81}"/>
              </a:ext>
            </a:extLst>
          </p:cNvPr>
          <p:cNvGrpSpPr/>
          <p:nvPr/>
        </p:nvGrpSpPr>
        <p:grpSpPr>
          <a:xfrm>
            <a:off x="-3543390" y="2240422"/>
            <a:ext cx="2671511" cy="2394725"/>
            <a:chOff x="187405" y="2240422"/>
            <a:chExt cx="2671511" cy="2394725"/>
          </a:xfrm>
        </p:grpSpPr>
        <p:sp>
          <p:nvSpPr>
            <p:cNvPr id="118" name="Shape_фон">
              <a:extLst>
                <a:ext uri="{FF2B5EF4-FFF2-40B4-BE49-F238E27FC236}">
                  <a16:creationId xmlns:a16="http://schemas.microsoft.com/office/drawing/2014/main" id="{71EFF5CD-96B6-46A0-A156-2524392A3A0F}"/>
                </a:ext>
              </a:extLst>
            </p:cNvPr>
            <p:cNvSpPr/>
            <p:nvPr/>
          </p:nvSpPr>
          <p:spPr>
            <a:xfrm>
              <a:off x="353680" y="2240422"/>
              <a:ext cx="2244096" cy="239472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9" name="Описание">
              <a:extLst>
                <a:ext uri="{FF2B5EF4-FFF2-40B4-BE49-F238E27FC236}">
                  <a16:creationId xmlns:a16="http://schemas.microsoft.com/office/drawing/2014/main" id="{1177DD08-E038-45BE-AAA8-6930EC61E75F}"/>
                </a:ext>
              </a:extLst>
            </p:cNvPr>
            <p:cNvSpPr txBox="1"/>
            <p:nvPr/>
          </p:nvSpPr>
          <p:spPr>
            <a:xfrm>
              <a:off x="1045964" y="2358041"/>
              <a:ext cx="859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Бизнес</a:t>
              </a:r>
            </a:p>
          </p:txBody>
        </p:sp>
        <p:grpSp>
          <p:nvGrpSpPr>
            <p:cNvPr id="120" name="Группа 119">
              <a:extLst>
                <a:ext uri="{FF2B5EF4-FFF2-40B4-BE49-F238E27FC236}">
                  <a16:creationId xmlns:a16="http://schemas.microsoft.com/office/drawing/2014/main" id="{E5BA78BA-7FA2-460B-9184-639B6E03BE67}"/>
                </a:ext>
              </a:extLst>
            </p:cNvPr>
            <p:cNvGrpSpPr/>
            <p:nvPr/>
          </p:nvGrpSpPr>
          <p:grpSpPr>
            <a:xfrm>
              <a:off x="187405" y="3791593"/>
              <a:ext cx="2671511" cy="835844"/>
              <a:chOff x="321083" y="3832985"/>
              <a:chExt cx="2671511" cy="835844"/>
            </a:xfrm>
          </p:grpSpPr>
          <p:sp>
            <p:nvSpPr>
              <p:cNvPr id="122" name="Shape_фон">
                <a:extLst>
                  <a:ext uri="{FF2B5EF4-FFF2-40B4-BE49-F238E27FC236}">
                    <a16:creationId xmlns:a16="http://schemas.microsoft.com/office/drawing/2014/main" id="{2E465EE0-9E68-4E4C-8E61-62B95C9B8A9A}"/>
                  </a:ext>
                </a:extLst>
              </p:cNvPr>
              <p:cNvSpPr/>
              <p:nvPr/>
            </p:nvSpPr>
            <p:spPr>
              <a:xfrm>
                <a:off x="321083" y="3832985"/>
                <a:ext cx="2671511" cy="835844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grpSp>
            <p:nvGrpSpPr>
              <p:cNvPr id="123" name="Группа 122">
                <a:extLst>
                  <a:ext uri="{FF2B5EF4-FFF2-40B4-BE49-F238E27FC236}">
                    <a16:creationId xmlns:a16="http://schemas.microsoft.com/office/drawing/2014/main" id="{405A7DB9-7439-47E4-85BC-6F9A2CC535BE}"/>
                  </a:ext>
                </a:extLst>
              </p:cNvPr>
              <p:cNvGrpSpPr/>
              <p:nvPr/>
            </p:nvGrpSpPr>
            <p:grpSpPr>
              <a:xfrm>
                <a:off x="1231531" y="4066081"/>
                <a:ext cx="858237" cy="468563"/>
                <a:chOff x="1299037" y="3101526"/>
                <a:chExt cx="1118376" cy="610588"/>
              </a:xfrm>
            </p:grpSpPr>
            <p:pic>
              <p:nvPicPr>
                <p:cNvPr id="136" name="Рисунок 135">
                  <a:extLst>
                    <a:ext uri="{FF2B5EF4-FFF2-40B4-BE49-F238E27FC236}">
                      <a16:creationId xmlns:a16="http://schemas.microsoft.com/office/drawing/2014/main" id="{216216D6-1605-4A87-B512-8ED1C460F288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99037" y="3101526"/>
                  <a:ext cx="1089430" cy="610588"/>
                </a:xfrm>
                <a:prstGeom prst="rect">
                  <a:avLst/>
                </a:prstGeom>
              </p:spPr>
            </p:pic>
            <p:sp>
              <p:nvSpPr>
                <p:cNvPr id="137" name="Описание">
                  <a:extLst>
                    <a:ext uri="{FF2B5EF4-FFF2-40B4-BE49-F238E27FC236}">
                      <a16:creationId xmlns:a16="http://schemas.microsoft.com/office/drawing/2014/main" id="{55ED2D53-6235-4475-80D1-88A640691876}"/>
                    </a:ext>
                  </a:extLst>
                </p:cNvPr>
                <p:cNvSpPr txBox="1"/>
                <p:nvPr/>
              </p:nvSpPr>
              <p:spPr>
                <a:xfrm>
                  <a:off x="1857173" y="3107105"/>
                  <a:ext cx="560240" cy="34090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SIM</a:t>
                  </a:r>
                  <a:endPara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124" name="Группа 123">
                <a:extLst>
                  <a:ext uri="{FF2B5EF4-FFF2-40B4-BE49-F238E27FC236}">
                    <a16:creationId xmlns:a16="http://schemas.microsoft.com/office/drawing/2014/main" id="{98F763F5-A8D8-401A-8BC1-CD3A439198F2}"/>
                  </a:ext>
                </a:extLst>
              </p:cNvPr>
              <p:cNvGrpSpPr/>
              <p:nvPr/>
            </p:nvGrpSpPr>
            <p:grpSpPr>
              <a:xfrm>
                <a:off x="487005" y="4071136"/>
                <a:ext cx="721309" cy="474239"/>
                <a:chOff x="617365" y="3855765"/>
                <a:chExt cx="1081377" cy="710972"/>
              </a:xfrm>
            </p:grpSpPr>
            <p:pic>
              <p:nvPicPr>
                <p:cNvPr id="134" name="Рисунок 133">
                  <a:extLst>
                    <a:ext uri="{FF2B5EF4-FFF2-40B4-BE49-F238E27FC236}">
                      <a16:creationId xmlns:a16="http://schemas.microsoft.com/office/drawing/2014/main" id="{6C7C526D-7E82-40E2-89CA-D526ADFB050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7540" y="3855765"/>
                  <a:ext cx="1061202" cy="649810"/>
                </a:xfrm>
                <a:prstGeom prst="rect">
                  <a:avLst/>
                </a:prstGeom>
              </p:spPr>
            </p:pic>
            <p:sp>
              <p:nvSpPr>
                <p:cNvPr id="135" name="Описание">
                  <a:extLst>
                    <a:ext uri="{FF2B5EF4-FFF2-40B4-BE49-F238E27FC236}">
                      <a16:creationId xmlns:a16="http://schemas.microsoft.com/office/drawing/2014/main" id="{BC1DA4BF-2825-44D8-A1EA-0BF7C9CEC27C}"/>
                    </a:ext>
                  </a:extLst>
                </p:cNvPr>
                <p:cNvSpPr txBox="1"/>
                <p:nvPr/>
              </p:nvSpPr>
              <p:spPr>
                <a:xfrm>
                  <a:off x="617365" y="4174535"/>
                  <a:ext cx="819973" cy="3922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CARD</a:t>
                  </a:r>
                  <a:endPara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125" name="Группа 124">
                <a:extLst>
                  <a:ext uri="{FF2B5EF4-FFF2-40B4-BE49-F238E27FC236}">
                    <a16:creationId xmlns:a16="http://schemas.microsoft.com/office/drawing/2014/main" id="{DE9A10A6-9F19-46F6-8506-C7B84AA8F265}"/>
                  </a:ext>
                </a:extLst>
              </p:cNvPr>
              <p:cNvGrpSpPr/>
              <p:nvPr/>
            </p:nvGrpSpPr>
            <p:grpSpPr>
              <a:xfrm>
                <a:off x="2209935" y="4026294"/>
                <a:ext cx="606419" cy="502270"/>
                <a:chOff x="5418342" y="2035427"/>
                <a:chExt cx="909135" cy="752996"/>
              </a:xfrm>
            </p:grpSpPr>
            <p:pic>
              <p:nvPicPr>
                <p:cNvPr id="126" name="Рисунок 125">
                  <a:extLst>
                    <a:ext uri="{FF2B5EF4-FFF2-40B4-BE49-F238E27FC236}">
                      <a16:creationId xmlns:a16="http://schemas.microsoft.com/office/drawing/2014/main" id="{983AAFCD-63E3-424C-85F9-1A15443A317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3383" y="2035427"/>
                  <a:ext cx="614094" cy="752996"/>
                </a:xfrm>
                <a:prstGeom prst="rect">
                  <a:avLst/>
                </a:prstGeom>
              </p:spPr>
            </p:pic>
            <p:grpSp>
              <p:nvGrpSpPr>
                <p:cNvPr id="127" name="Группа 126">
                  <a:extLst>
                    <a:ext uri="{FF2B5EF4-FFF2-40B4-BE49-F238E27FC236}">
                      <a16:creationId xmlns:a16="http://schemas.microsoft.com/office/drawing/2014/main" id="{2977C9C2-B1D5-4E02-B968-593B3574F8C6}"/>
                    </a:ext>
                  </a:extLst>
                </p:cNvPr>
                <p:cNvGrpSpPr/>
                <p:nvPr/>
              </p:nvGrpSpPr>
              <p:grpSpPr>
                <a:xfrm>
                  <a:off x="5418342" y="2083431"/>
                  <a:ext cx="673376" cy="690804"/>
                  <a:chOff x="504301" y="2908240"/>
                  <a:chExt cx="781089" cy="801306"/>
                </a:xfrm>
              </p:grpSpPr>
              <p:grpSp>
                <p:nvGrpSpPr>
                  <p:cNvPr id="128" name="Рисунок 149">
                    <a:extLst>
                      <a:ext uri="{FF2B5EF4-FFF2-40B4-BE49-F238E27FC236}">
                        <a16:creationId xmlns:a16="http://schemas.microsoft.com/office/drawing/2014/main" id="{E67B0664-044B-4EEB-B475-AFEE3FBB890D}"/>
                      </a:ext>
                    </a:extLst>
                  </p:cNvPr>
                  <p:cNvGrpSpPr/>
                  <p:nvPr/>
                </p:nvGrpSpPr>
                <p:grpSpPr>
                  <a:xfrm>
                    <a:off x="604343" y="2908240"/>
                    <a:ext cx="613028" cy="801306"/>
                    <a:chOff x="703210" y="3059703"/>
                    <a:chExt cx="613028" cy="801306"/>
                  </a:xfrm>
                </p:grpSpPr>
                <p:sp>
                  <p:nvSpPr>
                    <p:cNvPr id="130" name="Полилиния: фигура 129">
                      <a:extLst>
                        <a:ext uri="{FF2B5EF4-FFF2-40B4-BE49-F238E27FC236}">
                          <a16:creationId xmlns:a16="http://schemas.microsoft.com/office/drawing/2014/main" id="{F3511FA4-5DE7-4984-9C3C-3A20B5505BF2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3211" y="3059703"/>
                      <a:ext cx="612930" cy="801306"/>
                    </a:xfrm>
                    <a:custGeom>
                      <a:avLst/>
                      <a:gdLst>
                        <a:gd name="connsiteX0" fmla="*/ 551569 w 612930"/>
                        <a:gd name="connsiteY0" fmla="*/ 801209 h 801306"/>
                        <a:gd name="connsiteX1" fmla="*/ 61361 w 612930"/>
                        <a:gd name="connsiteY1" fmla="*/ 801209 h 801306"/>
                        <a:gd name="connsiteX2" fmla="*/ 0 w 612930"/>
                        <a:gd name="connsiteY2" fmla="*/ 739848 h 801306"/>
                        <a:gd name="connsiteX3" fmla="*/ 0 w 612930"/>
                        <a:gd name="connsiteY3" fmla="*/ 61361 h 801306"/>
                        <a:gd name="connsiteX4" fmla="*/ 61361 w 612930"/>
                        <a:gd name="connsiteY4" fmla="*/ 0 h 801306"/>
                        <a:gd name="connsiteX5" fmla="*/ 372265 w 612930"/>
                        <a:gd name="connsiteY5" fmla="*/ 0 h 801306"/>
                        <a:gd name="connsiteX6" fmla="*/ 612931 w 612930"/>
                        <a:gd name="connsiteY6" fmla="*/ 248079 h 801306"/>
                        <a:gd name="connsiteX7" fmla="*/ 612931 w 612930"/>
                        <a:gd name="connsiteY7" fmla="*/ 739945 h 801306"/>
                        <a:gd name="connsiteX8" fmla="*/ 551569 w 612930"/>
                        <a:gd name="connsiteY8" fmla="*/ 801307 h 8013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12930" h="801306">
                          <a:moveTo>
                            <a:pt x="551569" y="801209"/>
                          </a:moveTo>
                          <a:lnTo>
                            <a:pt x="61361" y="801209"/>
                          </a:lnTo>
                          <a:cubicBezTo>
                            <a:pt x="27510" y="801209"/>
                            <a:pt x="0" y="773699"/>
                            <a:pt x="0" y="739848"/>
                          </a:cubicBezTo>
                          <a:lnTo>
                            <a:pt x="0" y="61361"/>
                          </a:lnTo>
                          <a:cubicBezTo>
                            <a:pt x="0" y="27510"/>
                            <a:pt x="27510" y="0"/>
                            <a:pt x="61361" y="0"/>
                          </a:cubicBezTo>
                          <a:lnTo>
                            <a:pt x="372265" y="0"/>
                          </a:lnTo>
                          <a:lnTo>
                            <a:pt x="612931" y="248079"/>
                          </a:lnTo>
                          <a:lnTo>
                            <a:pt x="612931" y="739945"/>
                          </a:lnTo>
                          <a:cubicBezTo>
                            <a:pt x="612931" y="773797"/>
                            <a:pt x="585420" y="801307"/>
                            <a:pt x="551569" y="801307"/>
                          </a:cubicBezTo>
                          <a:close/>
                        </a:path>
                      </a:pathLst>
                    </a:custGeom>
                    <a:solidFill>
                      <a:schemeClr val="bg2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1" name="Полилиния: фигура 130">
                      <a:extLst>
                        <a:ext uri="{FF2B5EF4-FFF2-40B4-BE49-F238E27FC236}">
                          <a16:creationId xmlns:a16="http://schemas.microsoft.com/office/drawing/2014/main" id="{35B4A024-2CF3-4D3D-95D5-189A4E4AB354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3210" y="3617810"/>
                      <a:ext cx="612928" cy="243104"/>
                    </a:xfrm>
                    <a:custGeom>
                      <a:avLst/>
                      <a:gdLst>
                        <a:gd name="connsiteX0" fmla="*/ 12097 w 612930"/>
                        <a:gd name="connsiteY0" fmla="*/ 0 h 243104"/>
                        <a:gd name="connsiteX1" fmla="*/ 600834 w 612930"/>
                        <a:gd name="connsiteY1" fmla="*/ 0 h 243104"/>
                        <a:gd name="connsiteX2" fmla="*/ 612931 w 612930"/>
                        <a:gd name="connsiteY2" fmla="*/ 12097 h 243104"/>
                        <a:gd name="connsiteX3" fmla="*/ 612931 w 612930"/>
                        <a:gd name="connsiteY3" fmla="*/ 179889 h 243104"/>
                        <a:gd name="connsiteX4" fmla="*/ 549716 w 612930"/>
                        <a:gd name="connsiteY4" fmla="*/ 243104 h 243104"/>
                        <a:gd name="connsiteX5" fmla="*/ 63215 w 612930"/>
                        <a:gd name="connsiteY5" fmla="*/ 243104 h 243104"/>
                        <a:gd name="connsiteX6" fmla="*/ 0 w 612930"/>
                        <a:gd name="connsiteY6" fmla="*/ 179889 h 243104"/>
                        <a:gd name="connsiteX7" fmla="*/ 0 w 612930"/>
                        <a:gd name="connsiteY7" fmla="*/ 12097 h 243104"/>
                        <a:gd name="connsiteX8" fmla="*/ 12097 w 612930"/>
                        <a:gd name="connsiteY8" fmla="*/ 0 h 2431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12930" h="243104">
                          <a:moveTo>
                            <a:pt x="12097" y="0"/>
                          </a:moveTo>
                          <a:lnTo>
                            <a:pt x="600834" y="0"/>
                          </a:lnTo>
                          <a:cubicBezTo>
                            <a:pt x="607468" y="0"/>
                            <a:pt x="612931" y="5463"/>
                            <a:pt x="612931" y="12097"/>
                          </a:cubicBezTo>
                          <a:lnTo>
                            <a:pt x="612931" y="179889"/>
                          </a:lnTo>
                          <a:cubicBezTo>
                            <a:pt x="612931" y="214813"/>
                            <a:pt x="584640" y="243104"/>
                            <a:pt x="549716" y="243104"/>
                          </a:cubicBezTo>
                          <a:lnTo>
                            <a:pt x="63215" y="243104"/>
                          </a:lnTo>
                          <a:cubicBezTo>
                            <a:pt x="28291" y="243104"/>
                            <a:pt x="0" y="214813"/>
                            <a:pt x="0" y="179889"/>
                          </a:cubicBezTo>
                          <a:lnTo>
                            <a:pt x="0" y="12097"/>
                          </a:lnTo>
                          <a:cubicBezTo>
                            <a:pt x="0" y="5463"/>
                            <a:pt x="5463" y="0"/>
                            <a:pt x="12097" y="0"/>
                          </a:cubicBezTo>
                          <a:close/>
                        </a:path>
                      </a:pathLst>
                    </a:custGeom>
                    <a:solidFill>
                      <a:srgbClr val="7C2323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2" name="Полилиния: фигура 131">
                      <a:extLst>
                        <a:ext uri="{FF2B5EF4-FFF2-40B4-BE49-F238E27FC236}">
                          <a16:creationId xmlns:a16="http://schemas.microsoft.com/office/drawing/2014/main" id="{B26F90B6-510F-4FC0-A527-FD59845C768D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5476" y="3059703"/>
                      <a:ext cx="240665" cy="248079"/>
                    </a:xfrm>
                    <a:custGeom>
                      <a:avLst/>
                      <a:gdLst>
                        <a:gd name="connsiteX0" fmla="*/ 0 w 240665"/>
                        <a:gd name="connsiteY0" fmla="*/ 0 h 248079"/>
                        <a:gd name="connsiteX1" fmla="*/ 0 w 240665"/>
                        <a:gd name="connsiteY1" fmla="*/ 191010 h 248079"/>
                        <a:gd name="connsiteX2" fmla="*/ 57069 w 240665"/>
                        <a:gd name="connsiteY2" fmla="*/ 248079 h 248079"/>
                        <a:gd name="connsiteX3" fmla="*/ 240665 w 240665"/>
                        <a:gd name="connsiteY3" fmla="*/ 248079 h 248079"/>
                        <a:gd name="connsiteX4" fmla="*/ 0 w 240665"/>
                        <a:gd name="connsiteY4" fmla="*/ 0 h 2480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40665" h="248079">
                          <a:moveTo>
                            <a:pt x="0" y="0"/>
                          </a:moveTo>
                          <a:lnTo>
                            <a:pt x="0" y="191010"/>
                          </a:lnTo>
                          <a:cubicBezTo>
                            <a:pt x="0" y="222520"/>
                            <a:pt x="25559" y="248079"/>
                            <a:pt x="57069" y="248079"/>
                          </a:cubicBezTo>
                          <a:lnTo>
                            <a:pt x="240665" y="248079"/>
                          </a:lnTo>
                          <a:cubicBezTo>
                            <a:pt x="240665" y="248079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chemeClr val="bg2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33" name="Полилиния: фигура 132">
                      <a:extLst>
                        <a:ext uri="{FF2B5EF4-FFF2-40B4-BE49-F238E27FC236}">
                          <a16:creationId xmlns:a16="http://schemas.microsoft.com/office/drawing/2014/main" id="{E6F0E84A-C227-415A-BC80-9767D60EE379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7995" y="3267395"/>
                      <a:ext cx="238243" cy="92019"/>
                    </a:xfrm>
                    <a:custGeom>
                      <a:avLst/>
                      <a:gdLst>
                        <a:gd name="connsiteX0" fmla="*/ 17 w 238243"/>
                        <a:gd name="connsiteY0" fmla="*/ 0 h 92019"/>
                        <a:gd name="connsiteX1" fmla="*/ 50355 w 238243"/>
                        <a:gd name="connsiteY1" fmla="*/ 61556 h 92019"/>
                        <a:gd name="connsiteX2" fmla="*/ 56404 w 238243"/>
                        <a:gd name="connsiteY2" fmla="*/ 62922 h 92019"/>
                        <a:gd name="connsiteX3" fmla="*/ 238244 w 238243"/>
                        <a:gd name="connsiteY3" fmla="*/ 91701 h 92019"/>
                        <a:gd name="connsiteX4" fmla="*/ 238244 w 238243"/>
                        <a:gd name="connsiteY4" fmla="*/ 40387 h 92019"/>
                        <a:gd name="connsiteX5" fmla="*/ 54648 w 238243"/>
                        <a:gd name="connsiteY5" fmla="*/ 40387 h 92019"/>
                        <a:gd name="connsiteX6" fmla="*/ 115 w 238243"/>
                        <a:gd name="connsiteY6" fmla="*/ 98 h 9201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38243" h="92019">
                          <a:moveTo>
                            <a:pt x="17" y="0"/>
                          </a:moveTo>
                          <a:cubicBezTo>
                            <a:pt x="17" y="0"/>
                            <a:pt x="-2421" y="46338"/>
                            <a:pt x="50355" y="61556"/>
                          </a:cubicBezTo>
                          <a:cubicBezTo>
                            <a:pt x="52306" y="62142"/>
                            <a:pt x="54355" y="62532"/>
                            <a:pt x="56404" y="62922"/>
                          </a:cubicBezTo>
                          <a:cubicBezTo>
                            <a:pt x="80402" y="67215"/>
                            <a:pt x="238244" y="95310"/>
                            <a:pt x="238244" y="91701"/>
                          </a:cubicBezTo>
                          <a:lnTo>
                            <a:pt x="238244" y="40387"/>
                          </a:lnTo>
                          <a:lnTo>
                            <a:pt x="54648" y="40387"/>
                          </a:lnTo>
                          <a:cubicBezTo>
                            <a:pt x="54648" y="40387"/>
                            <a:pt x="8797" y="38826"/>
                            <a:pt x="115" y="98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sp>
                <p:nvSpPr>
                  <p:cNvPr id="129" name="Описание">
                    <a:extLst>
                      <a:ext uri="{FF2B5EF4-FFF2-40B4-BE49-F238E27FC236}">
                        <a16:creationId xmlns:a16="http://schemas.microsoft.com/office/drawing/2014/main" id="{F848BD54-872F-4328-AEDD-00F90AACAC06}"/>
                      </a:ext>
                    </a:extLst>
                  </p:cNvPr>
                  <p:cNvSpPr txBox="1"/>
                  <p:nvPr/>
                </p:nvSpPr>
                <p:spPr>
                  <a:xfrm>
                    <a:off x="504301" y="3181235"/>
                    <a:ext cx="781089" cy="32113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rPr>
                      <a:t>ПОЛИС</a:t>
                    </a:r>
                    <a:endParaRPr kumimoji="0" lang="ru-RU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endParaRPr>
                  </a:p>
                </p:txBody>
              </p:sp>
            </p:grpSp>
          </p:grpSp>
        </p:grpSp>
        <p:pic>
          <p:nvPicPr>
            <p:cNvPr id="121" name="Рисунок 120">
              <a:extLst>
                <a:ext uri="{FF2B5EF4-FFF2-40B4-BE49-F238E27FC236}">
                  <a16:creationId xmlns:a16="http://schemas.microsoft.com/office/drawing/2014/main" id="{9E40D0FD-6AD0-4387-867B-2F670FB7703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20939646">
              <a:off x="1009014" y="2794890"/>
              <a:ext cx="914830" cy="856746"/>
            </a:xfrm>
            <a:prstGeom prst="rect">
              <a:avLst/>
            </a:pr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145538551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4" name="Прямая соединительная линия 123">
            <a:extLst>
              <a:ext uri="{FF2B5EF4-FFF2-40B4-BE49-F238E27FC236}">
                <a16:creationId xmlns:a16="http://schemas.microsoft.com/office/drawing/2014/main" id="{D6E542D9-6A4F-4A74-9CFF-F86E49FEBC45}"/>
              </a:ext>
            </a:extLst>
          </p:cNvPr>
          <p:cNvCxnSpPr>
            <a:cxnSpLocks/>
          </p:cNvCxnSpPr>
          <p:nvPr/>
        </p:nvCxnSpPr>
        <p:spPr>
          <a:xfrm flipH="1">
            <a:off x="0" y="4399443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356611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5" name="Заголовок">
            <a:extLst>
              <a:ext uri="{FF2B5EF4-FFF2-40B4-BE49-F238E27FC236}">
                <a16:creationId xmlns:a16="http://schemas.microsoft.com/office/drawing/2014/main" id="{CCD99420-F822-4E71-B967-BCF958CE868B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6" name="Таймлайн">
            <a:extLst>
              <a:ext uri="{FF2B5EF4-FFF2-40B4-BE49-F238E27FC236}">
                <a16:creationId xmlns:a16="http://schemas.microsoft.com/office/drawing/2014/main" id="{B7A0B0D6-1771-4627-AC89-29E9178C67BF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15136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09BFED1-563F-455F-963F-5E224A61955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A955B0AC-7138-4E45-91F1-4FBAAF304E37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84C3D35B-0F9C-4319-9091-5796E02D3EC7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4BF7DCBF-4155-4892-8BD0-E734D736F982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писание">
            <a:extLst>
              <a:ext uri="{FF2B5EF4-FFF2-40B4-BE49-F238E27FC236}">
                <a16:creationId xmlns:a16="http://schemas.microsoft.com/office/drawing/2014/main" id="{0742915A-706D-4A94-BA0E-B3D7D31ECA9A}"/>
              </a:ext>
            </a:extLst>
          </p:cNvPr>
          <p:cNvSpPr txBox="1"/>
          <p:nvPr/>
        </p:nvSpPr>
        <p:spPr>
          <a:xfrm>
            <a:off x="5543637" y="5562259"/>
            <a:ext cx="10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ru-RU" sz="1600" dirty="0">
                <a:solidFill>
                  <a:srgbClr val="0D0D0D">
                    <a:lumMod val="75000"/>
                    <a:lumOff val="2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Барь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D0D0D">
                  <a:lumMod val="75000"/>
                  <a:lumOff val="25000"/>
                </a:srgbClr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65001129-C02E-4DD0-80D6-BC4BBD142EF6}"/>
              </a:ext>
            </a:extLst>
          </p:cNvPr>
          <p:cNvGrpSpPr/>
          <p:nvPr/>
        </p:nvGrpSpPr>
        <p:grpSpPr>
          <a:xfrm>
            <a:off x="9598897" y="2240125"/>
            <a:ext cx="2244096" cy="2395022"/>
            <a:chOff x="9598897" y="2240125"/>
            <a:chExt cx="2244096" cy="2395022"/>
          </a:xfrm>
        </p:grpSpPr>
        <p:sp>
          <p:nvSpPr>
            <p:cNvPr id="178" name="Shape_фон">
              <a:extLst>
                <a:ext uri="{FF2B5EF4-FFF2-40B4-BE49-F238E27FC236}">
                  <a16:creationId xmlns:a16="http://schemas.microsoft.com/office/drawing/2014/main" id="{844E2182-00C8-4E2B-ABBE-572CF7214F05}"/>
                </a:ext>
              </a:extLst>
            </p:cNvPr>
            <p:cNvSpPr/>
            <p:nvPr/>
          </p:nvSpPr>
          <p:spPr>
            <a:xfrm>
              <a:off x="9598897" y="2240125"/>
              <a:ext cx="2244096" cy="23950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9" name="Описание">
              <a:extLst>
                <a:ext uri="{FF2B5EF4-FFF2-40B4-BE49-F238E27FC236}">
                  <a16:creationId xmlns:a16="http://schemas.microsoft.com/office/drawing/2014/main" id="{AE792DCF-915E-4F2E-B823-8FA7B326347B}"/>
                </a:ext>
              </a:extLst>
            </p:cNvPr>
            <p:cNvSpPr txBox="1"/>
            <p:nvPr/>
          </p:nvSpPr>
          <p:spPr>
            <a:xfrm>
              <a:off x="9815863" y="2390787"/>
              <a:ext cx="18085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: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Стадия 4</a:t>
              </a:r>
            </a:p>
          </p:txBody>
        </p:sp>
        <p:pic>
          <p:nvPicPr>
            <p:cNvPr id="176" name="Рисунок 175">
              <a:extLst>
                <a:ext uri="{FF2B5EF4-FFF2-40B4-BE49-F238E27FC236}">
                  <a16:creationId xmlns:a16="http://schemas.microsoft.com/office/drawing/2014/main" id="{C7624B05-496A-4629-82F6-BA3F76C2795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790580" y="2813680"/>
              <a:ext cx="1897685" cy="1821467"/>
            </a:xfrm>
            <a:prstGeom prst="rect">
              <a:avLst/>
            </a:prstGeom>
          </p:spPr>
        </p:pic>
      </p:grp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E1EF664F-8AEB-46FB-8DB3-85001A846DC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221109" y="2352518"/>
            <a:ext cx="1224734" cy="2682168"/>
          </a:xfrm>
          <a:prstGeom prst="rect">
            <a:avLst/>
          </a:prstGeom>
        </p:spPr>
      </p:pic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ABA63FB8-F200-4320-A662-436194768873}"/>
              </a:ext>
            </a:extLst>
          </p:cNvPr>
          <p:cNvGrpSpPr/>
          <p:nvPr/>
        </p:nvGrpSpPr>
        <p:grpSpPr>
          <a:xfrm>
            <a:off x="3823045" y="2337444"/>
            <a:ext cx="4696008" cy="1854634"/>
            <a:chOff x="3823045" y="2337444"/>
            <a:chExt cx="4696008" cy="1854634"/>
          </a:xfrm>
        </p:grpSpPr>
        <p:pic>
          <p:nvPicPr>
            <p:cNvPr id="20" name="Рисунок 19">
              <a:extLst>
                <a:ext uri="{FF2B5EF4-FFF2-40B4-BE49-F238E27FC236}">
                  <a16:creationId xmlns:a16="http://schemas.microsoft.com/office/drawing/2014/main" id="{0C0B79AA-C791-4186-A4BF-860A63ED5E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710761" y="2337444"/>
              <a:ext cx="1808292" cy="1679528"/>
            </a:xfrm>
            <a:prstGeom prst="rect">
              <a:avLst/>
            </a:prstGeom>
          </p:spPr>
        </p:pic>
        <p:pic>
          <p:nvPicPr>
            <p:cNvPr id="75" name="Рисунок 74">
              <a:extLst>
                <a:ext uri="{FF2B5EF4-FFF2-40B4-BE49-F238E27FC236}">
                  <a16:creationId xmlns:a16="http://schemas.microsoft.com/office/drawing/2014/main" id="{6C66E57F-6EC2-413A-9885-DA5FE4CEF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3758663" y="2448168"/>
              <a:ext cx="1808292" cy="1679528"/>
            </a:xfrm>
            <a:prstGeom prst="rect">
              <a:avLst/>
            </a:prstGeom>
          </p:spPr>
        </p:pic>
      </p:grpSp>
      <p:grpSp>
        <p:nvGrpSpPr>
          <p:cNvPr id="32" name="Горы">
            <a:extLst>
              <a:ext uri="{FF2B5EF4-FFF2-40B4-BE49-F238E27FC236}">
                <a16:creationId xmlns:a16="http://schemas.microsoft.com/office/drawing/2014/main" id="{72235193-BAF1-4896-8AE5-6238B345584A}"/>
              </a:ext>
            </a:extLst>
          </p:cNvPr>
          <p:cNvGrpSpPr/>
          <p:nvPr/>
        </p:nvGrpSpPr>
        <p:grpSpPr>
          <a:xfrm>
            <a:off x="3493620" y="4824781"/>
            <a:ext cx="5144294" cy="649596"/>
            <a:chOff x="167458" y="4368798"/>
            <a:chExt cx="8382253" cy="1058463"/>
          </a:xfrm>
        </p:grpSpPr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69455B26-5924-4589-9961-F20F9072C5EB}"/>
                </a:ext>
              </a:extLst>
            </p:cNvPr>
            <p:cNvSpPr/>
            <p:nvPr/>
          </p:nvSpPr>
          <p:spPr>
            <a:xfrm>
              <a:off x="167458" y="5184132"/>
              <a:ext cx="8382253" cy="243129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016CE759-15EA-4AAC-80DF-1DB130BDBBA5}"/>
                </a:ext>
              </a:extLst>
            </p:cNvPr>
            <p:cNvGrpSpPr/>
            <p:nvPr/>
          </p:nvGrpSpPr>
          <p:grpSpPr>
            <a:xfrm>
              <a:off x="266731" y="4368798"/>
              <a:ext cx="8133588" cy="916264"/>
              <a:chOff x="-220210" y="3429000"/>
              <a:chExt cx="9226080" cy="1039336"/>
            </a:xfrm>
          </p:grpSpPr>
          <p:pic>
            <p:nvPicPr>
              <p:cNvPr id="26" name="Рисунок 25">
                <a:extLst>
                  <a:ext uri="{FF2B5EF4-FFF2-40B4-BE49-F238E27FC236}">
                    <a16:creationId xmlns:a16="http://schemas.microsoft.com/office/drawing/2014/main" id="{5083B818-EC8C-41C1-A397-049ADFB460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 flipH="1">
                <a:off x="4888198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DCAC2217-4FB0-45EC-B5F8-079C8E72B0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-220210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02A75ADD-A489-4184-BB20-24DFBC980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838626" y="3429001"/>
                <a:ext cx="4117673" cy="1039335"/>
              </a:xfrm>
              <a:prstGeom prst="rect">
                <a:avLst/>
              </a:prstGeom>
            </p:spPr>
          </p:pic>
        </p:grp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8E7A45A2-B867-4F72-A4F5-598A0681883B}"/>
              </a:ext>
            </a:extLst>
          </p:cNvPr>
          <p:cNvGrpSpPr/>
          <p:nvPr/>
        </p:nvGrpSpPr>
        <p:grpSpPr>
          <a:xfrm>
            <a:off x="187405" y="2240422"/>
            <a:ext cx="2671511" cy="2394725"/>
            <a:chOff x="187405" y="2240422"/>
            <a:chExt cx="2671511" cy="2394725"/>
          </a:xfrm>
        </p:grpSpPr>
        <p:sp>
          <p:nvSpPr>
            <p:cNvPr id="74" name="Shape_фон">
              <a:extLst>
                <a:ext uri="{FF2B5EF4-FFF2-40B4-BE49-F238E27FC236}">
                  <a16:creationId xmlns:a16="http://schemas.microsoft.com/office/drawing/2014/main" id="{FDA4331F-822E-46CE-A919-54AB02C20701}"/>
                </a:ext>
              </a:extLst>
            </p:cNvPr>
            <p:cNvSpPr/>
            <p:nvPr/>
          </p:nvSpPr>
          <p:spPr>
            <a:xfrm>
              <a:off x="353680" y="2240422"/>
              <a:ext cx="2244096" cy="239472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6" name="Описание">
              <a:extLst>
                <a:ext uri="{FF2B5EF4-FFF2-40B4-BE49-F238E27FC236}">
                  <a16:creationId xmlns:a16="http://schemas.microsoft.com/office/drawing/2014/main" id="{283B3064-8E32-4F6E-A5ED-68D37DCDAB5D}"/>
                </a:ext>
              </a:extLst>
            </p:cNvPr>
            <p:cNvSpPr txBox="1"/>
            <p:nvPr/>
          </p:nvSpPr>
          <p:spPr>
            <a:xfrm>
              <a:off x="1045964" y="2358041"/>
              <a:ext cx="859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Бизнес</a:t>
              </a:r>
            </a:p>
          </p:txBody>
        </p:sp>
        <p:grpSp>
          <p:nvGrpSpPr>
            <p:cNvPr id="90" name="Группа 89">
              <a:extLst>
                <a:ext uri="{FF2B5EF4-FFF2-40B4-BE49-F238E27FC236}">
                  <a16:creationId xmlns:a16="http://schemas.microsoft.com/office/drawing/2014/main" id="{EF36298C-6C2D-4D68-B918-B3134ECFDFBE}"/>
                </a:ext>
              </a:extLst>
            </p:cNvPr>
            <p:cNvGrpSpPr/>
            <p:nvPr/>
          </p:nvGrpSpPr>
          <p:grpSpPr>
            <a:xfrm>
              <a:off x="187405" y="3791593"/>
              <a:ext cx="2671511" cy="835844"/>
              <a:chOff x="321083" y="3832985"/>
              <a:chExt cx="2671511" cy="835844"/>
            </a:xfrm>
          </p:grpSpPr>
          <p:sp>
            <p:nvSpPr>
              <p:cNvPr id="91" name="Shape_фон">
                <a:extLst>
                  <a:ext uri="{FF2B5EF4-FFF2-40B4-BE49-F238E27FC236}">
                    <a16:creationId xmlns:a16="http://schemas.microsoft.com/office/drawing/2014/main" id="{43CE39BC-0A8A-4DB8-A15D-96D43DC6F62F}"/>
                  </a:ext>
                </a:extLst>
              </p:cNvPr>
              <p:cNvSpPr/>
              <p:nvPr/>
            </p:nvSpPr>
            <p:spPr>
              <a:xfrm>
                <a:off x="321083" y="3832985"/>
                <a:ext cx="2671511" cy="835844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grpSp>
            <p:nvGrpSpPr>
              <p:cNvPr id="92" name="Группа 91">
                <a:extLst>
                  <a:ext uri="{FF2B5EF4-FFF2-40B4-BE49-F238E27FC236}">
                    <a16:creationId xmlns:a16="http://schemas.microsoft.com/office/drawing/2014/main" id="{3D71A130-3E7D-4781-B374-8B5D94E605BE}"/>
                  </a:ext>
                </a:extLst>
              </p:cNvPr>
              <p:cNvGrpSpPr/>
              <p:nvPr/>
            </p:nvGrpSpPr>
            <p:grpSpPr>
              <a:xfrm>
                <a:off x="1231531" y="4066081"/>
                <a:ext cx="858237" cy="468563"/>
                <a:chOff x="1299037" y="3101526"/>
                <a:chExt cx="1118376" cy="610588"/>
              </a:xfrm>
            </p:grpSpPr>
            <p:pic>
              <p:nvPicPr>
                <p:cNvPr id="105" name="Рисунок 104">
                  <a:extLst>
                    <a:ext uri="{FF2B5EF4-FFF2-40B4-BE49-F238E27FC236}">
                      <a16:creationId xmlns:a16="http://schemas.microsoft.com/office/drawing/2014/main" id="{816137E9-62CB-4236-BB0D-81455A3B11B4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2">
                  <a:extLst>
                    <a:ext uri="{96DAC541-7B7A-43D3-8B79-37D633B846F1}">
                      <asvg:svgBlip xmlns:asvg="http://schemas.microsoft.com/office/drawing/2016/SVG/main" r:embed="rId1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299037" y="3101526"/>
                  <a:ext cx="1089430" cy="610588"/>
                </a:xfrm>
                <a:prstGeom prst="rect">
                  <a:avLst/>
                </a:prstGeom>
              </p:spPr>
            </p:pic>
            <p:sp>
              <p:nvSpPr>
                <p:cNvPr id="106" name="Описание">
                  <a:extLst>
                    <a:ext uri="{FF2B5EF4-FFF2-40B4-BE49-F238E27FC236}">
                      <a16:creationId xmlns:a16="http://schemas.microsoft.com/office/drawing/2014/main" id="{2B995BEC-90C5-4EB8-A5E5-37D4FCA81624}"/>
                    </a:ext>
                  </a:extLst>
                </p:cNvPr>
                <p:cNvSpPr txBox="1"/>
                <p:nvPr/>
              </p:nvSpPr>
              <p:spPr>
                <a:xfrm>
                  <a:off x="1857173" y="3107105"/>
                  <a:ext cx="560240" cy="340906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SIM</a:t>
                  </a:r>
                  <a:endPara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93" name="Группа 92">
                <a:extLst>
                  <a:ext uri="{FF2B5EF4-FFF2-40B4-BE49-F238E27FC236}">
                    <a16:creationId xmlns:a16="http://schemas.microsoft.com/office/drawing/2014/main" id="{1750FE67-96FB-42E3-A034-CE5D61B438DD}"/>
                  </a:ext>
                </a:extLst>
              </p:cNvPr>
              <p:cNvGrpSpPr/>
              <p:nvPr/>
            </p:nvGrpSpPr>
            <p:grpSpPr>
              <a:xfrm>
                <a:off x="487005" y="4071136"/>
                <a:ext cx="721309" cy="474239"/>
                <a:chOff x="617365" y="3855765"/>
                <a:chExt cx="1081377" cy="710972"/>
              </a:xfrm>
            </p:grpSpPr>
            <p:pic>
              <p:nvPicPr>
                <p:cNvPr id="103" name="Рисунок 102">
                  <a:extLst>
                    <a:ext uri="{FF2B5EF4-FFF2-40B4-BE49-F238E27FC236}">
                      <a16:creationId xmlns:a16="http://schemas.microsoft.com/office/drawing/2014/main" id="{396E0845-F526-4C4B-B17B-4C10C6256DBC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4">
                  <a:extLst>
                    <a:ext uri="{96DAC541-7B7A-43D3-8B79-37D633B846F1}">
                      <asvg:svgBlip xmlns:asvg="http://schemas.microsoft.com/office/drawing/2016/SVG/main" r:embed="rId15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37540" y="3855765"/>
                  <a:ext cx="1061202" cy="649810"/>
                </a:xfrm>
                <a:prstGeom prst="rect">
                  <a:avLst/>
                </a:prstGeom>
              </p:spPr>
            </p:pic>
            <p:sp>
              <p:nvSpPr>
                <p:cNvPr id="104" name="Описание">
                  <a:extLst>
                    <a:ext uri="{FF2B5EF4-FFF2-40B4-BE49-F238E27FC236}">
                      <a16:creationId xmlns:a16="http://schemas.microsoft.com/office/drawing/2014/main" id="{A6D7E2CD-87BB-4C15-B1F7-EFB7AE82711D}"/>
                    </a:ext>
                  </a:extLst>
                </p:cNvPr>
                <p:cNvSpPr txBox="1"/>
                <p:nvPr/>
              </p:nvSpPr>
              <p:spPr>
                <a:xfrm>
                  <a:off x="617365" y="4174535"/>
                  <a:ext cx="819973" cy="392202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11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CARD</a:t>
                  </a:r>
                  <a:endPara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94" name="Группа 93">
                <a:extLst>
                  <a:ext uri="{FF2B5EF4-FFF2-40B4-BE49-F238E27FC236}">
                    <a16:creationId xmlns:a16="http://schemas.microsoft.com/office/drawing/2014/main" id="{7241EC3A-3695-439D-9E6A-BE031535564D}"/>
                  </a:ext>
                </a:extLst>
              </p:cNvPr>
              <p:cNvGrpSpPr/>
              <p:nvPr/>
            </p:nvGrpSpPr>
            <p:grpSpPr>
              <a:xfrm>
                <a:off x="2209935" y="4026294"/>
                <a:ext cx="606419" cy="502270"/>
                <a:chOff x="5418342" y="2035427"/>
                <a:chExt cx="909135" cy="752996"/>
              </a:xfrm>
            </p:grpSpPr>
            <p:pic>
              <p:nvPicPr>
                <p:cNvPr id="95" name="Рисунок 94">
                  <a:extLst>
                    <a:ext uri="{FF2B5EF4-FFF2-40B4-BE49-F238E27FC236}">
                      <a16:creationId xmlns:a16="http://schemas.microsoft.com/office/drawing/2014/main" id="{696F195D-6B9B-439D-8CD4-8EB58C734500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1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5713383" y="2035427"/>
                  <a:ext cx="614094" cy="752996"/>
                </a:xfrm>
                <a:prstGeom prst="rect">
                  <a:avLst/>
                </a:prstGeom>
              </p:spPr>
            </p:pic>
            <p:grpSp>
              <p:nvGrpSpPr>
                <p:cNvPr id="96" name="Группа 95">
                  <a:extLst>
                    <a:ext uri="{FF2B5EF4-FFF2-40B4-BE49-F238E27FC236}">
                      <a16:creationId xmlns:a16="http://schemas.microsoft.com/office/drawing/2014/main" id="{7881C763-33E5-42ED-B526-76575F7B9FC5}"/>
                    </a:ext>
                  </a:extLst>
                </p:cNvPr>
                <p:cNvGrpSpPr/>
                <p:nvPr/>
              </p:nvGrpSpPr>
              <p:grpSpPr>
                <a:xfrm>
                  <a:off x="5418342" y="2083431"/>
                  <a:ext cx="673376" cy="690804"/>
                  <a:chOff x="504301" y="2908240"/>
                  <a:chExt cx="781089" cy="801306"/>
                </a:xfrm>
              </p:grpSpPr>
              <p:grpSp>
                <p:nvGrpSpPr>
                  <p:cNvPr id="97" name="Рисунок 149">
                    <a:extLst>
                      <a:ext uri="{FF2B5EF4-FFF2-40B4-BE49-F238E27FC236}">
                        <a16:creationId xmlns:a16="http://schemas.microsoft.com/office/drawing/2014/main" id="{5CB9E28A-0AD0-44AB-B863-DA0C82D315F3}"/>
                      </a:ext>
                    </a:extLst>
                  </p:cNvPr>
                  <p:cNvGrpSpPr/>
                  <p:nvPr/>
                </p:nvGrpSpPr>
                <p:grpSpPr>
                  <a:xfrm>
                    <a:off x="604343" y="2908240"/>
                    <a:ext cx="613028" cy="801306"/>
                    <a:chOff x="703210" y="3059703"/>
                    <a:chExt cx="613028" cy="801306"/>
                  </a:xfrm>
                </p:grpSpPr>
                <p:sp>
                  <p:nvSpPr>
                    <p:cNvPr id="99" name="Полилиния: фигура 98">
                      <a:extLst>
                        <a:ext uri="{FF2B5EF4-FFF2-40B4-BE49-F238E27FC236}">
                          <a16:creationId xmlns:a16="http://schemas.microsoft.com/office/drawing/2014/main" id="{D0120294-E476-40ED-A612-58889E49D20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3211" y="3059703"/>
                      <a:ext cx="612930" cy="801306"/>
                    </a:xfrm>
                    <a:custGeom>
                      <a:avLst/>
                      <a:gdLst>
                        <a:gd name="connsiteX0" fmla="*/ 551569 w 612930"/>
                        <a:gd name="connsiteY0" fmla="*/ 801209 h 801306"/>
                        <a:gd name="connsiteX1" fmla="*/ 61361 w 612930"/>
                        <a:gd name="connsiteY1" fmla="*/ 801209 h 801306"/>
                        <a:gd name="connsiteX2" fmla="*/ 0 w 612930"/>
                        <a:gd name="connsiteY2" fmla="*/ 739848 h 801306"/>
                        <a:gd name="connsiteX3" fmla="*/ 0 w 612930"/>
                        <a:gd name="connsiteY3" fmla="*/ 61361 h 801306"/>
                        <a:gd name="connsiteX4" fmla="*/ 61361 w 612930"/>
                        <a:gd name="connsiteY4" fmla="*/ 0 h 801306"/>
                        <a:gd name="connsiteX5" fmla="*/ 372265 w 612930"/>
                        <a:gd name="connsiteY5" fmla="*/ 0 h 801306"/>
                        <a:gd name="connsiteX6" fmla="*/ 612931 w 612930"/>
                        <a:gd name="connsiteY6" fmla="*/ 248079 h 801306"/>
                        <a:gd name="connsiteX7" fmla="*/ 612931 w 612930"/>
                        <a:gd name="connsiteY7" fmla="*/ 739945 h 801306"/>
                        <a:gd name="connsiteX8" fmla="*/ 551569 w 612930"/>
                        <a:gd name="connsiteY8" fmla="*/ 801307 h 801306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12930" h="801306">
                          <a:moveTo>
                            <a:pt x="551569" y="801209"/>
                          </a:moveTo>
                          <a:lnTo>
                            <a:pt x="61361" y="801209"/>
                          </a:lnTo>
                          <a:cubicBezTo>
                            <a:pt x="27510" y="801209"/>
                            <a:pt x="0" y="773699"/>
                            <a:pt x="0" y="739848"/>
                          </a:cubicBezTo>
                          <a:lnTo>
                            <a:pt x="0" y="61361"/>
                          </a:lnTo>
                          <a:cubicBezTo>
                            <a:pt x="0" y="27510"/>
                            <a:pt x="27510" y="0"/>
                            <a:pt x="61361" y="0"/>
                          </a:cubicBezTo>
                          <a:lnTo>
                            <a:pt x="372265" y="0"/>
                          </a:lnTo>
                          <a:lnTo>
                            <a:pt x="612931" y="248079"/>
                          </a:lnTo>
                          <a:lnTo>
                            <a:pt x="612931" y="739945"/>
                          </a:lnTo>
                          <a:cubicBezTo>
                            <a:pt x="612931" y="773797"/>
                            <a:pt x="585420" y="801307"/>
                            <a:pt x="551569" y="801307"/>
                          </a:cubicBezTo>
                          <a:close/>
                        </a:path>
                      </a:pathLst>
                    </a:custGeom>
                    <a:solidFill>
                      <a:schemeClr val="bg2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0" name="Полилиния: фигура 99">
                      <a:extLst>
                        <a:ext uri="{FF2B5EF4-FFF2-40B4-BE49-F238E27FC236}">
                          <a16:creationId xmlns:a16="http://schemas.microsoft.com/office/drawing/2014/main" id="{6596D2B9-0370-48F9-8268-CDAE58D162FE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703210" y="3617810"/>
                      <a:ext cx="612928" cy="243104"/>
                    </a:xfrm>
                    <a:custGeom>
                      <a:avLst/>
                      <a:gdLst>
                        <a:gd name="connsiteX0" fmla="*/ 12097 w 612930"/>
                        <a:gd name="connsiteY0" fmla="*/ 0 h 243104"/>
                        <a:gd name="connsiteX1" fmla="*/ 600834 w 612930"/>
                        <a:gd name="connsiteY1" fmla="*/ 0 h 243104"/>
                        <a:gd name="connsiteX2" fmla="*/ 612931 w 612930"/>
                        <a:gd name="connsiteY2" fmla="*/ 12097 h 243104"/>
                        <a:gd name="connsiteX3" fmla="*/ 612931 w 612930"/>
                        <a:gd name="connsiteY3" fmla="*/ 179889 h 243104"/>
                        <a:gd name="connsiteX4" fmla="*/ 549716 w 612930"/>
                        <a:gd name="connsiteY4" fmla="*/ 243104 h 243104"/>
                        <a:gd name="connsiteX5" fmla="*/ 63215 w 612930"/>
                        <a:gd name="connsiteY5" fmla="*/ 243104 h 243104"/>
                        <a:gd name="connsiteX6" fmla="*/ 0 w 612930"/>
                        <a:gd name="connsiteY6" fmla="*/ 179889 h 243104"/>
                        <a:gd name="connsiteX7" fmla="*/ 0 w 612930"/>
                        <a:gd name="connsiteY7" fmla="*/ 12097 h 243104"/>
                        <a:gd name="connsiteX8" fmla="*/ 12097 w 612930"/>
                        <a:gd name="connsiteY8" fmla="*/ 0 h 243104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  <a:cxn ang="0">
                          <a:pos x="connsiteX7" y="connsiteY7"/>
                        </a:cxn>
                        <a:cxn ang="0">
                          <a:pos x="connsiteX8" y="connsiteY8"/>
                        </a:cxn>
                      </a:cxnLst>
                      <a:rect l="l" t="t" r="r" b="b"/>
                      <a:pathLst>
                        <a:path w="612930" h="243104">
                          <a:moveTo>
                            <a:pt x="12097" y="0"/>
                          </a:moveTo>
                          <a:lnTo>
                            <a:pt x="600834" y="0"/>
                          </a:lnTo>
                          <a:cubicBezTo>
                            <a:pt x="607468" y="0"/>
                            <a:pt x="612931" y="5463"/>
                            <a:pt x="612931" y="12097"/>
                          </a:cubicBezTo>
                          <a:lnTo>
                            <a:pt x="612931" y="179889"/>
                          </a:lnTo>
                          <a:cubicBezTo>
                            <a:pt x="612931" y="214813"/>
                            <a:pt x="584640" y="243104"/>
                            <a:pt x="549716" y="243104"/>
                          </a:cubicBezTo>
                          <a:lnTo>
                            <a:pt x="63215" y="243104"/>
                          </a:lnTo>
                          <a:cubicBezTo>
                            <a:pt x="28291" y="243104"/>
                            <a:pt x="0" y="214813"/>
                            <a:pt x="0" y="179889"/>
                          </a:cubicBezTo>
                          <a:lnTo>
                            <a:pt x="0" y="12097"/>
                          </a:lnTo>
                          <a:cubicBezTo>
                            <a:pt x="0" y="5463"/>
                            <a:pt x="5463" y="0"/>
                            <a:pt x="12097" y="0"/>
                          </a:cubicBezTo>
                          <a:close/>
                        </a:path>
                      </a:pathLst>
                    </a:custGeom>
                    <a:solidFill>
                      <a:srgbClr val="7C2323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1" name="Полилиния: фигура 100">
                      <a:extLst>
                        <a:ext uri="{FF2B5EF4-FFF2-40B4-BE49-F238E27FC236}">
                          <a16:creationId xmlns:a16="http://schemas.microsoft.com/office/drawing/2014/main" id="{828B17B4-88CC-49E3-9A6B-F5D3D4750710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5476" y="3059703"/>
                      <a:ext cx="240665" cy="248079"/>
                    </a:xfrm>
                    <a:custGeom>
                      <a:avLst/>
                      <a:gdLst>
                        <a:gd name="connsiteX0" fmla="*/ 0 w 240665"/>
                        <a:gd name="connsiteY0" fmla="*/ 0 h 248079"/>
                        <a:gd name="connsiteX1" fmla="*/ 0 w 240665"/>
                        <a:gd name="connsiteY1" fmla="*/ 191010 h 248079"/>
                        <a:gd name="connsiteX2" fmla="*/ 57069 w 240665"/>
                        <a:gd name="connsiteY2" fmla="*/ 248079 h 248079"/>
                        <a:gd name="connsiteX3" fmla="*/ 240665 w 240665"/>
                        <a:gd name="connsiteY3" fmla="*/ 248079 h 248079"/>
                        <a:gd name="connsiteX4" fmla="*/ 0 w 240665"/>
                        <a:gd name="connsiteY4" fmla="*/ 0 h 24807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</a:cxnLst>
                      <a:rect l="l" t="t" r="r" b="b"/>
                      <a:pathLst>
                        <a:path w="240665" h="248079">
                          <a:moveTo>
                            <a:pt x="0" y="0"/>
                          </a:moveTo>
                          <a:lnTo>
                            <a:pt x="0" y="191010"/>
                          </a:lnTo>
                          <a:cubicBezTo>
                            <a:pt x="0" y="222520"/>
                            <a:pt x="25559" y="248079"/>
                            <a:pt x="57069" y="248079"/>
                          </a:cubicBezTo>
                          <a:lnTo>
                            <a:pt x="240665" y="248079"/>
                          </a:lnTo>
                          <a:cubicBezTo>
                            <a:pt x="240665" y="248079"/>
                            <a:pt x="0" y="0"/>
                            <a:pt x="0" y="0"/>
                          </a:cubicBezTo>
                          <a:close/>
                        </a:path>
                      </a:pathLst>
                    </a:custGeom>
                    <a:solidFill>
                      <a:schemeClr val="bg2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  <p:sp>
                  <p:nvSpPr>
                    <p:cNvPr id="102" name="Полилиния: фигура 101">
                      <a:extLst>
                        <a:ext uri="{FF2B5EF4-FFF2-40B4-BE49-F238E27FC236}">
                          <a16:creationId xmlns:a16="http://schemas.microsoft.com/office/drawing/2014/main" id="{5BAB0EA7-8E9F-41C5-A20B-9247538A0116}"/>
                        </a:ext>
                      </a:extLst>
                    </p:cNvPr>
                    <p:cNvSpPr/>
                    <p:nvPr/>
                  </p:nvSpPr>
                  <p:spPr>
                    <a:xfrm>
                      <a:off x="1077995" y="3267395"/>
                      <a:ext cx="238243" cy="92019"/>
                    </a:xfrm>
                    <a:custGeom>
                      <a:avLst/>
                      <a:gdLst>
                        <a:gd name="connsiteX0" fmla="*/ 17 w 238243"/>
                        <a:gd name="connsiteY0" fmla="*/ 0 h 92019"/>
                        <a:gd name="connsiteX1" fmla="*/ 50355 w 238243"/>
                        <a:gd name="connsiteY1" fmla="*/ 61556 h 92019"/>
                        <a:gd name="connsiteX2" fmla="*/ 56404 w 238243"/>
                        <a:gd name="connsiteY2" fmla="*/ 62922 h 92019"/>
                        <a:gd name="connsiteX3" fmla="*/ 238244 w 238243"/>
                        <a:gd name="connsiteY3" fmla="*/ 91701 h 92019"/>
                        <a:gd name="connsiteX4" fmla="*/ 238244 w 238243"/>
                        <a:gd name="connsiteY4" fmla="*/ 40387 h 92019"/>
                        <a:gd name="connsiteX5" fmla="*/ 54648 w 238243"/>
                        <a:gd name="connsiteY5" fmla="*/ 40387 h 92019"/>
                        <a:gd name="connsiteX6" fmla="*/ 115 w 238243"/>
                        <a:gd name="connsiteY6" fmla="*/ 98 h 92019"/>
                      </a:gdLst>
                      <a:ahLst/>
                      <a:cxnLst>
                        <a:cxn ang="0">
                          <a:pos x="connsiteX0" y="connsiteY0"/>
                        </a:cxn>
                        <a:cxn ang="0">
                          <a:pos x="connsiteX1" y="connsiteY1"/>
                        </a:cxn>
                        <a:cxn ang="0">
                          <a:pos x="connsiteX2" y="connsiteY2"/>
                        </a:cxn>
                        <a:cxn ang="0">
                          <a:pos x="connsiteX3" y="connsiteY3"/>
                        </a:cxn>
                        <a:cxn ang="0">
                          <a:pos x="connsiteX4" y="connsiteY4"/>
                        </a:cxn>
                        <a:cxn ang="0">
                          <a:pos x="connsiteX5" y="connsiteY5"/>
                        </a:cxn>
                        <a:cxn ang="0">
                          <a:pos x="connsiteX6" y="connsiteY6"/>
                        </a:cxn>
                      </a:cxnLst>
                      <a:rect l="l" t="t" r="r" b="b"/>
                      <a:pathLst>
                        <a:path w="238243" h="92019">
                          <a:moveTo>
                            <a:pt x="17" y="0"/>
                          </a:moveTo>
                          <a:cubicBezTo>
                            <a:pt x="17" y="0"/>
                            <a:pt x="-2421" y="46338"/>
                            <a:pt x="50355" y="61556"/>
                          </a:cubicBezTo>
                          <a:cubicBezTo>
                            <a:pt x="52306" y="62142"/>
                            <a:pt x="54355" y="62532"/>
                            <a:pt x="56404" y="62922"/>
                          </a:cubicBezTo>
                          <a:cubicBezTo>
                            <a:pt x="80402" y="67215"/>
                            <a:pt x="238244" y="95310"/>
                            <a:pt x="238244" y="91701"/>
                          </a:cubicBezTo>
                          <a:lnTo>
                            <a:pt x="238244" y="40387"/>
                          </a:lnTo>
                          <a:lnTo>
                            <a:pt x="54648" y="40387"/>
                          </a:lnTo>
                          <a:cubicBezTo>
                            <a:pt x="54648" y="40387"/>
                            <a:pt x="8797" y="38826"/>
                            <a:pt x="115" y="98"/>
                          </a:cubicBezTo>
                          <a:close/>
                        </a:path>
                      </a:pathLst>
                    </a:custGeom>
                    <a:solidFill>
                      <a:srgbClr val="C00000"/>
                    </a:solidFill>
                    <a:ln w="9676" cap="flat">
                      <a:noFill/>
                      <a:prstDash val="solid"/>
                      <a:miter/>
                    </a:ln>
                  </p:spPr>
                  <p:txBody>
                    <a:bodyPr rtlCol="0" anchor="ctr"/>
                    <a:lstStyle/>
                    <a:p>
                      <a:endParaRPr lang="ru-RU"/>
                    </a:p>
                  </p:txBody>
                </p:sp>
              </p:grpSp>
              <p:sp>
                <p:nvSpPr>
                  <p:cNvPr id="98" name="Описание">
                    <a:extLst>
                      <a:ext uri="{FF2B5EF4-FFF2-40B4-BE49-F238E27FC236}">
                        <a16:creationId xmlns:a16="http://schemas.microsoft.com/office/drawing/2014/main" id="{6FB2BFB0-E8A7-463A-BF19-CA9C358BAE09}"/>
                      </a:ext>
                    </a:extLst>
                  </p:cNvPr>
                  <p:cNvSpPr txBox="1"/>
                  <p:nvPr/>
                </p:nvSpPr>
                <p:spPr>
                  <a:xfrm>
                    <a:off x="504301" y="3181235"/>
                    <a:ext cx="781089" cy="321134"/>
                  </a:xfrm>
                  <a:prstGeom prst="rect">
                    <a:avLst/>
                  </a:prstGeom>
                  <a:noFill/>
                </p:spPr>
                <p:txBody>
                  <a:bodyPr wrap="none" rtlCol="0">
                    <a:spAutoFit/>
                  </a:bodyPr>
                  <a:lstStyle/>
                  <a:p>
                    <a:pPr marL="0" marR="0" lvl="0" indent="0" algn="ctr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Roboto Light" panose="02000000000000000000" pitchFamily="2" charset="0"/>
                        <a:ea typeface="Roboto Light" panose="02000000000000000000" pitchFamily="2" charset="0"/>
                        <a:cs typeface="+mn-cs"/>
                      </a:rPr>
                      <a:t>ПОЛИС</a:t>
                    </a:r>
                    <a:endParaRPr kumimoji="0" lang="ru-RU" sz="8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endParaRPr>
                  </a:p>
                </p:txBody>
              </p:sp>
            </p:grpSp>
          </p:grpSp>
        </p:grpSp>
        <p:pic>
          <p:nvPicPr>
            <p:cNvPr id="107" name="Рисунок 106">
              <a:extLst>
                <a:ext uri="{FF2B5EF4-FFF2-40B4-BE49-F238E27FC236}">
                  <a16:creationId xmlns:a16="http://schemas.microsoft.com/office/drawing/2014/main" id="{E3713BD3-1835-49C7-BC7B-4B2DF021A788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20939646">
              <a:off x="1009014" y="2794890"/>
              <a:ext cx="914830" cy="856746"/>
            </a:xfrm>
            <a:prstGeom prst="rect">
              <a:avLst/>
            </a:prstGeom>
          </p:spPr>
        </p:pic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6A0EC8C8-EA42-4CB1-A5BC-65149E1DD0D3}"/>
              </a:ext>
            </a:extLst>
          </p:cNvPr>
          <p:cNvGrpSpPr/>
          <p:nvPr/>
        </p:nvGrpSpPr>
        <p:grpSpPr>
          <a:xfrm>
            <a:off x="7956666" y="2410693"/>
            <a:ext cx="1349573" cy="2565818"/>
            <a:chOff x="8163329" y="2468868"/>
            <a:chExt cx="1349573" cy="2565818"/>
          </a:xfrm>
        </p:grpSpPr>
        <p:pic>
          <p:nvPicPr>
            <p:cNvPr id="8" name="Рисунок 7">
              <a:extLst>
                <a:ext uri="{FF2B5EF4-FFF2-40B4-BE49-F238E27FC236}">
                  <a16:creationId xmlns:a16="http://schemas.microsoft.com/office/drawing/2014/main" id="{8A261611-A204-4F5E-B7F0-0172F63C28A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>
              <a:off x="8163329" y="2468868"/>
              <a:ext cx="949170" cy="2565818"/>
            </a:xfrm>
            <a:prstGeom prst="rect">
              <a:avLst/>
            </a:prstGeom>
          </p:spPr>
        </p:pic>
        <p:pic>
          <p:nvPicPr>
            <p:cNvPr id="108" name="Рисунок 107">
              <a:extLst>
                <a:ext uri="{FF2B5EF4-FFF2-40B4-BE49-F238E27FC236}">
                  <a16:creationId xmlns:a16="http://schemas.microsoft.com/office/drawing/2014/main" id="{BB874976-7314-42ED-918D-B41E2660A5A2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16410603">
              <a:off x="9001610" y="3129378"/>
              <a:ext cx="528056" cy="494528"/>
            </a:xfrm>
            <a:prstGeom prst="rect">
              <a:avLst/>
            </a:prstGeom>
          </p:spPr>
        </p:pic>
      </p:grpSp>
      <p:grpSp>
        <p:nvGrpSpPr>
          <p:cNvPr id="64" name="Group 2048">
            <a:extLst>
              <a:ext uri="{FF2B5EF4-FFF2-40B4-BE49-F238E27FC236}">
                <a16:creationId xmlns:a16="http://schemas.microsoft.com/office/drawing/2014/main" id="{3D89D7DB-8247-487A-964A-DE7C753E501F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65" name="Freeform 23">
              <a:extLst>
                <a:ext uri="{FF2B5EF4-FFF2-40B4-BE49-F238E27FC236}">
                  <a16:creationId xmlns:a16="http://schemas.microsoft.com/office/drawing/2014/main" id="{A6535B86-D35C-499D-8588-08E7B6CDC835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77" name="Freeform 24">
              <a:extLst>
                <a:ext uri="{FF2B5EF4-FFF2-40B4-BE49-F238E27FC236}">
                  <a16:creationId xmlns:a16="http://schemas.microsoft.com/office/drawing/2014/main" id="{2675F774-C096-4690-A60B-714E6371315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874240A4-A853-4CE4-99C2-602126A71C58}"/>
              </a:ext>
            </a:extLst>
          </p:cNvPr>
          <p:cNvGrpSpPr/>
          <p:nvPr/>
        </p:nvGrpSpPr>
        <p:grpSpPr>
          <a:xfrm>
            <a:off x="13206377" y="1717852"/>
            <a:ext cx="4627594" cy="4021923"/>
            <a:chOff x="3785721" y="1717852"/>
            <a:chExt cx="4627594" cy="4021923"/>
          </a:xfrm>
        </p:grpSpPr>
        <p:sp>
          <p:nvSpPr>
            <p:cNvPr id="79" name="Shape_фон">
              <a:extLst>
                <a:ext uri="{FF2B5EF4-FFF2-40B4-BE49-F238E27FC236}">
                  <a16:creationId xmlns:a16="http://schemas.microsoft.com/office/drawing/2014/main" id="{BA70AE6D-0323-4347-8574-C6190F6110BD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0" name="Группа 79">
              <a:extLst>
                <a:ext uri="{FF2B5EF4-FFF2-40B4-BE49-F238E27FC236}">
                  <a16:creationId xmlns:a16="http://schemas.microsoft.com/office/drawing/2014/main" id="{6BE23526-A043-4DBA-89C1-BFF8D58B3E44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122" name="Shape_фон">
                <a:extLst>
                  <a:ext uri="{FF2B5EF4-FFF2-40B4-BE49-F238E27FC236}">
                    <a16:creationId xmlns:a16="http://schemas.microsoft.com/office/drawing/2014/main" id="{767F22A9-212B-43AB-AA28-858DFF1F4AE6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23" name="Motion design">
                <a:extLst>
                  <a:ext uri="{FF2B5EF4-FFF2-40B4-BE49-F238E27FC236}">
                    <a16:creationId xmlns:a16="http://schemas.microsoft.com/office/drawing/2014/main" id="{8013E66E-469C-4089-9CBC-1AB4E91E3845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81" name="Группа 80">
              <a:extLst>
                <a:ext uri="{FF2B5EF4-FFF2-40B4-BE49-F238E27FC236}">
                  <a16:creationId xmlns:a16="http://schemas.microsoft.com/office/drawing/2014/main" id="{83712573-7F56-405F-9478-D15872D4B49E}"/>
                </a:ext>
              </a:extLst>
            </p:cNvPr>
            <p:cNvGrpSpPr/>
            <p:nvPr/>
          </p:nvGrpSpPr>
          <p:grpSpPr>
            <a:xfrm>
              <a:off x="4011300" y="3028817"/>
              <a:ext cx="2084700" cy="377702"/>
              <a:chOff x="6510195" y="1556711"/>
              <a:chExt cx="4675592" cy="847113"/>
            </a:xfrm>
          </p:grpSpPr>
          <p:sp>
            <p:nvSpPr>
              <p:cNvPr id="119" name="Rounded Rectangle">
                <a:extLst>
                  <a:ext uri="{FF2B5EF4-FFF2-40B4-BE49-F238E27FC236}">
                    <a16:creationId xmlns:a16="http://schemas.microsoft.com/office/drawing/2014/main" id="{A4832513-9988-44FF-91FD-2DBFF8F05D15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20" name="Motion design">
                <a:extLst>
                  <a:ext uri="{FF2B5EF4-FFF2-40B4-BE49-F238E27FC236}">
                    <a16:creationId xmlns:a16="http://schemas.microsoft.com/office/drawing/2014/main" id="{26318684-833F-4043-BD09-DEC7B0CA6FAA}"/>
                  </a:ext>
                </a:extLst>
              </p:cNvPr>
              <p:cNvSpPr txBox="1"/>
              <p:nvPr/>
            </p:nvSpPr>
            <p:spPr>
              <a:xfrm>
                <a:off x="7710250" y="1729331"/>
                <a:ext cx="2841330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Типы</a:t>
                </a:r>
              </a:p>
            </p:txBody>
          </p:sp>
          <p:sp>
            <p:nvSpPr>
              <p:cNvPr id="121" name="Circle">
                <a:extLst>
                  <a:ext uri="{FF2B5EF4-FFF2-40B4-BE49-F238E27FC236}">
                    <a16:creationId xmlns:a16="http://schemas.microsoft.com/office/drawing/2014/main" id="{3492E82F-C5CD-4B21-9518-18790340B38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82" name="Группа 81">
              <a:extLst>
                <a:ext uri="{FF2B5EF4-FFF2-40B4-BE49-F238E27FC236}">
                  <a16:creationId xmlns:a16="http://schemas.microsoft.com/office/drawing/2014/main" id="{9414E1BE-641B-4D48-B8DB-74CAB54C9660}"/>
                </a:ext>
              </a:extLst>
            </p:cNvPr>
            <p:cNvGrpSpPr/>
            <p:nvPr/>
          </p:nvGrpSpPr>
          <p:grpSpPr>
            <a:xfrm>
              <a:off x="4011300" y="3523236"/>
              <a:ext cx="2084700" cy="377702"/>
              <a:chOff x="6510195" y="1556711"/>
              <a:chExt cx="4675592" cy="847113"/>
            </a:xfrm>
          </p:grpSpPr>
          <p:sp>
            <p:nvSpPr>
              <p:cNvPr id="116" name="Rounded Rectangle">
                <a:extLst>
                  <a:ext uri="{FF2B5EF4-FFF2-40B4-BE49-F238E27FC236}">
                    <a16:creationId xmlns:a16="http://schemas.microsoft.com/office/drawing/2014/main" id="{958AEC1C-4D4C-497A-936D-84E06647889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7" name="Motion design">
                <a:extLst>
                  <a:ext uri="{FF2B5EF4-FFF2-40B4-BE49-F238E27FC236}">
                    <a16:creationId xmlns:a16="http://schemas.microsoft.com/office/drawing/2014/main" id="{56607980-14A8-4BCA-88C0-2EAC579E4AAD}"/>
                  </a:ext>
                </a:extLst>
              </p:cNvPr>
              <p:cNvSpPr txBox="1"/>
              <p:nvPr/>
            </p:nvSpPr>
            <p:spPr>
              <a:xfrm>
                <a:off x="7986459" y="1712963"/>
                <a:ext cx="2337796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оли</a:t>
                </a:r>
              </a:p>
            </p:txBody>
          </p:sp>
          <p:sp>
            <p:nvSpPr>
              <p:cNvPr id="118" name="Circle">
                <a:extLst>
                  <a:ext uri="{FF2B5EF4-FFF2-40B4-BE49-F238E27FC236}">
                    <a16:creationId xmlns:a16="http://schemas.microsoft.com/office/drawing/2014/main" id="{20F7235C-2623-44C5-BBE8-7CCE7669FFEC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83" name="Группа 82">
              <a:extLst>
                <a:ext uri="{FF2B5EF4-FFF2-40B4-BE49-F238E27FC236}">
                  <a16:creationId xmlns:a16="http://schemas.microsoft.com/office/drawing/2014/main" id="{3D5DAEB1-687A-47FE-A1DA-6A06FBD40163}"/>
                </a:ext>
              </a:extLst>
            </p:cNvPr>
            <p:cNvGrpSpPr/>
            <p:nvPr/>
          </p:nvGrpSpPr>
          <p:grpSpPr>
            <a:xfrm>
              <a:off x="6159081" y="3029377"/>
              <a:ext cx="2084700" cy="377702"/>
              <a:chOff x="6510195" y="1556711"/>
              <a:chExt cx="4675592" cy="847113"/>
            </a:xfrm>
          </p:grpSpPr>
          <p:sp>
            <p:nvSpPr>
              <p:cNvPr id="113" name="Rounded Rectangle">
                <a:extLst>
                  <a:ext uri="{FF2B5EF4-FFF2-40B4-BE49-F238E27FC236}">
                    <a16:creationId xmlns:a16="http://schemas.microsoft.com/office/drawing/2014/main" id="{3EF245A3-C8D1-4C3D-9D28-AD263354EFEF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4" name="Motion design">
                <a:extLst>
                  <a:ext uri="{FF2B5EF4-FFF2-40B4-BE49-F238E27FC236}">
                    <a16:creationId xmlns:a16="http://schemas.microsoft.com/office/drawing/2014/main" id="{EC2DE163-EE2A-426C-94BF-E2FA5B793ED7}"/>
                  </a:ext>
                </a:extLst>
              </p:cNvPr>
              <p:cNvSpPr txBox="1"/>
              <p:nvPr/>
            </p:nvSpPr>
            <p:spPr>
              <a:xfrm>
                <a:off x="7710250" y="1715394"/>
                <a:ext cx="261348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атегории</a:t>
                </a:r>
              </a:p>
            </p:txBody>
          </p:sp>
          <p:sp>
            <p:nvSpPr>
              <p:cNvPr id="115" name="Circle">
                <a:extLst>
                  <a:ext uri="{FF2B5EF4-FFF2-40B4-BE49-F238E27FC236}">
                    <a16:creationId xmlns:a16="http://schemas.microsoft.com/office/drawing/2014/main" id="{C86CE47A-2E59-47D5-97F5-7AD7762C4FD2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D3525907-257B-475B-B2C5-DD060EAF4B47}"/>
                </a:ext>
              </a:extLst>
            </p:cNvPr>
            <p:cNvGrpSpPr/>
            <p:nvPr/>
          </p:nvGrpSpPr>
          <p:grpSpPr>
            <a:xfrm>
              <a:off x="5066984" y="4064486"/>
              <a:ext cx="2058032" cy="377702"/>
              <a:chOff x="6510195" y="1556711"/>
              <a:chExt cx="4615781" cy="847113"/>
            </a:xfrm>
          </p:grpSpPr>
          <p:sp>
            <p:nvSpPr>
              <p:cNvPr id="110" name="Rounded Rectangle">
                <a:extLst>
                  <a:ext uri="{FF2B5EF4-FFF2-40B4-BE49-F238E27FC236}">
                    <a16:creationId xmlns:a16="http://schemas.microsoft.com/office/drawing/2014/main" id="{AFC5C6F6-B7D0-4220-BCDB-C14B48DD5A05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1578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1" name="Motion design">
                <a:extLst>
                  <a:ext uri="{FF2B5EF4-FFF2-40B4-BE49-F238E27FC236}">
                    <a16:creationId xmlns:a16="http://schemas.microsoft.com/office/drawing/2014/main" id="{D5F922F7-52F3-4B1F-B6EE-4514C89FDB8E}"/>
                  </a:ext>
                </a:extLst>
              </p:cNvPr>
              <p:cNvSpPr txBox="1"/>
              <p:nvPr/>
            </p:nvSpPr>
            <p:spPr>
              <a:xfrm>
                <a:off x="7824169" y="1724630"/>
                <a:ext cx="2613489" cy="49444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бъединения:</a:t>
                </a: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DB66B6AA-A64D-41AE-8BAF-AEC4153D5249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86" name="Motion design">
              <a:extLst>
                <a:ext uri="{FF2B5EF4-FFF2-40B4-BE49-F238E27FC236}">
                  <a16:creationId xmlns:a16="http://schemas.microsoft.com/office/drawing/2014/main" id="{3C22393E-4057-4B41-A142-42F768D08FDA}"/>
                </a:ext>
              </a:extLst>
            </p:cNvPr>
            <p:cNvSpPr txBox="1"/>
            <p:nvPr/>
          </p:nvSpPr>
          <p:spPr>
            <a:xfrm>
              <a:off x="5189820" y="4469846"/>
              <a:ext cx="2102370" cy="93871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Домохозяйства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Клиент экосистемы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Группы компаний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олдинги</a:t>
              </a:r>
            </a:p>
          </p:txBody>
        </p:sp>
        <p:grpSp>
          <p:nvGrpSpPr>
            <p:cNvPr id="87" name="Группа 86">
              <a:extLst>
                <a:ext uri="{FF2B5EF4-FFF2-40B4-BE49-F238E27FC236}">
                  <a16:creationId xmlns:a16="http://schemas.microsoft.com/office/drawing/2014/main" id="{CD4792AC-D1E5-441D-8BE7-A15472B9C3DF}"/>
                </a:ext>
              </a:extLst>
            </p:cNvPr>
            <p:cNvGrpSpPr/>
            <p:nvPr/>
          </p:nvGrpSpPr>
          <p:grpSpPr>
            <a:xfrm>
              <a:off x="6159081" y="3523236"/>
              <a:ext cx="2084700" cy="377702"/>
              <a:chOff x="6510195" y="1556711"/>
              <a:chExt cx="4675592" cy="847113"/>
            </a:xfrm>
          </p:grpSpPr>
          <p:sp>
            <p:nvSpPr>
              <p:cNvPr id="88" name="Rounded Rectangle">
                <a:extLst>
                  <a:ext uri="{FF2B5EF4-FFF2-40B4-BE49-F238E27FC236}">
                    <a16:creationId xmlns:a16="http://schemas.microsoft.com/office/drawing/2014/main" id="{E159C1FF-FF10-489A-9C85-2DF4E1E399A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9" name="Motion design">
                <a:extLst>
                  <a:ext uri="{FF2B5EF4-FFF2-40B4-BE49-F238E27FC236}">
                    <a16:creationId xmlns:a16="http://schemas.microsoft.com/office/drawing/2014/main" id="{10AD6C1C-C0BF-4D41-B7F1-F063721B665A}"/>
                  </a:ext>
                </a:extLst>
              </p:cNvPr>
              <p:cNvSpPr txBox="1"/>
              <p:nvPr/>
            </p:nvSpPr>
            <p:spPr>
              <a:xfrm>
                <a:off x="7986459" y="1712963"/>
                <a:ext cx="2337796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 ФЛ</a:t>
                </a:r>
              </a:p>
            </p:txBody>
          </p:sp>
          <p:sp>
            <p:nvSpPr>
              <p:cNvPr id="109" name="Circle">
                <a:extLst>
                  <a:ext uri="{FF2B5EF4-FFF2-40B4-BE49-F238E27FC236}">
                    <a16:creationId xmlns:a16="http://schemas.microsoft.com/office/drawing/2014/main" id="{629EF703-19DD-410E-9232-3B9B752FBDF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4587840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Заголовок">
            <a:extLst>
              <a:ext uri="{FF2B5EF4-FFF2-40B4-BE49-F238E27FC236}">
                <a16:creationId xmlns:a16="http://schemas.microsoft.com/office/drawing/2014/main" id="{2169972C-250D-4463-8C21-BEC6B0F54B60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59" name="Таймлайн">
            <a:extLst>
              <a:ext uri="{FF2B5EF4-FFF2-40B4-BE49-F238E27FC236}">
                <a16:creationId xmlns:a16="http://schemas.microsoft.com/office/drawing/2014/main" id="{DBBB699C-5DA1-41D1-A7BA-83A776EDF441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BF98D8AB-1C11-4350-B95E-443610C080B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>
            <a:extLst>
              <a:ext uri="{FF2B5EF4-FFF2-40B4-BE49-F238E27FC236}">
                <a16:creationId xmlns:a16="http://schemas.microsoft.com/office/drawing/2014/main" id="{8D68390C-DB45-4266-8BF9-C933890A3CF4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7D9C8F97-155C-4492-94DD-2215A5876C13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171C252A-724E-4473-887A-3F76A81E45F8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2048">
            <a:extLst>
              <a:ext uri="{FF2B5EF4-FFF2-40B4-BE49-F238E27FC236}">
                <a16:creationId xmlns:a16="http://schemas.microsoft.com/office/drawing/2014/main" id="{86C53C8B-CA64-4087-9DB7-7C50A797AF4A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167" name="Freeform 23">
              <a:extLst>
                <a:ext uri="{FF2B5EF4-FFF2-40B4-BE49-F238E27FC236}">
                  <a16:creationId xmlns:a16="http://schemas.microsoft.com/office/drawing/2014/main" id="{8E397B99-6CA6-44E1-90C2-464FBD6EF97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68" name="Freeform 24">
              <a:extLst>
                <a:ext uri="{FF2B5EF4-FFF2-40B4-BE49-F238E27FC236}">
                  <a16:creationId xmlns:a16="http://schemas.microsoft.com/office/drawing/2014/main" id="{B29E7778-34E6-411C-8E61-EF7E7D179452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65F99D2-89CE-401F-82C0-BBEC99AF603F}"/>
              </a:ext>
            </a:extLst>
          </p:cNvPr>
          <p:cNvGrpSpPr/>
          <p:nvPr/>
        </p:nvGrpSpPr>
        <p:grpSpPr>
          <a:xfrm>
            <a:off x="3782203" y="1717852"/>
            <a:ext cx="4627594" cy="4021923"/>
            <a:chOff x="3785721" y="1717852"/>
            <a:chExt cx="4627594" cy="4021923"/>
          </a:xfrm>
        </p:grpSpPr>
        <p:sp>
          <p:nvSpPr>
            <p:cNvPr id="149" name="Shape_фон">
              <a:extLst>
                <a:ext uri="{FF2B5EF4-FFF2-40B4-BE49-F238E27FC236}">
                  <a16:creationId xmlns:a16="http://schemas.microsoft.com/office/drawing/2014/main" id="{AD9C9007-E932-4F59-ADDF-B5B9D40627E7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8D05103-1E9C-4C0D-8D53-341A5846DFD4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97" name="Shape_фон">
                <a:extLst>
                  <a:ext uri="{FF2B5EF4-FFF2-40B4-BE49-F238E27FC236}">
                    <a16:creationId xmlns:a16="http://schemas.microsoft.com/office/drawing/2014/main" id="{4DEFDE77-596E-454E-A0EC-5D7463F2F03A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4" name="Motion design">
                <a:extLst>
                  <a:ext uri="{FF2B5EF4-FFF2-40B4-BE49-F238E27FC236}">
                    <a16:creationId xmlns:a16="http://schemas.microsoft.com/office/drawing/2014/main" id="{B0E8BB8E-C2B7-45DF-A24A-1695587BCF53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169" name="Группа 168">
              <a:extLst>
                <a:ext uri="{FF2B5EF4-FFF2-40B4-BE49-F238E27FC236}">
                  <a16:creationId xmlns:a16="http://schemas.microsoft.com/office/drawing/2014/main" id="{62D4D211-F8AF-45A7-8FE3-3421101EAE44}"/>
                </a:ext>
              </a:extLst>
            </p:cNvPr>
            <p:cNvGrpSpPr/>
            <p:nvPr/>
          </p:nvGrpSpPr>
          <p:grpSpPr>
            <a:xfrm>
              <a:off x="4011300" y="3028817"/>
              <a:ext cx="2084700" cy="377702"/>
              <a:chOff x="6510195" y="1556711"/>
              <a:chExt cx="4675592" cy="847113"/>
            </a:xfrm>
          </p:grpSpPr>
          <p:sp>
            <p:nvSpPr>
              <p:cNvPr id="170" name="Rounded Rectangle">
                <a:extLst>
                  <a:ext uri="{FF2B5EF4-FFF2-40B4-BE49-F238E27FC236}">
                    <a16:creationId xmlns:a16="http://schemas.microsoft.com/office/drawing/2014/main" id="{B4877D1D-049B-4788-80A5-3847571B5C72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1" name="Motion design">
                <a:extLst>
                  <a:ext uri="{FF2B5EF4-FFF2-40B4-BE49-F238E27FC236}">
                    <a16:creationId xmlns:a16="http://schemas.microsoft.com/office/drawing/2014/main" id="{8102A5B0-7AB5-4377-A9C6-EA59B6CD2C1E}"/>
                  </a:ext>
                </a:extLst>
              </p:cNvPr>
              <p:cNvSpPr txBox="1"/>
              <p:nvPr/>
            </p:nvSpPr>
            <p:spPr>
              <a:xfrm>
                <a:off x="7710250" y="1729331"/>
                <a:ext cx="2841330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Типы</a:t>
                </a: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256B0D1A-EEB0-4294-8120-11D62405F74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BD3C2E60-80AE-408C-96F9-22F16F6D612A}"/>
                </a:ext>
              </a:extLst>
            </p:cNvPr>
            <p:cNvGrpSpPr/>
            <p:nvPr/>
          </p:nvGrpSpPr>
          <p:grpSpPr>
            <a:xfrm>
              <a:off x="4011300" y="3523236"/>
              <a:ext cx="2084700" cy="377702"/>
              <a:chOff x="6510195" y="1556711"/>
              <a:chExt cx="4675592" cy="847113"/>
            </a:xfrm>
          </p:grpSpPr>
          <p:sp>
            <p:nvSpPr>
              <p:cNvPr id="185" name="Rounded Rectangle">
                <a:extLst>
                  <a:ext uri="{FF2B5EF4-FFF2-40B4-BE49-F238E27FC236}">
                    <a16:creationId xmlns:a16="http://schemas.microsoft.com/office/drawing/2014/main" id="{892A4E9A-0EBF-46AD-9F03-7A32B8168E1D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86" name="Motion design">
                <a:extLst>
                  <a:ext uri="{FF2B5EF4-FFF2-40B4-BE49-F238E27FC236}">
                    <a16:creationId xmlns:a16="http://schemas.microsoft.com/office/drawing/2014/main" id="{2BBACE5C-EFB5-40F5-AAAD-054FC800DED7}"/>
                  </a:ext>
                </a:extLst>
              </p:cNvPr>
              <p:cNvSpPr txBox="1"/>
              <p:nvPr/>
            </p:nvSpPr>
            <p:spPr>
              <a:xfrm>
                <a:off x="7986459" y="1712963"/>
                <a:ext cx="2337796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оли</a:t>
                </a:r>
              </a:p>
            </p:txBody>
          </p:sp>
          <p:sp>
            <p:nvSpPr>
              <p:cNvPr id="187" name="Circle">
                <a:extLst>
                  <a:ext uri="{FF2B5EF4-FFF2-40B4-BE49-F238E27FC236}">
                    <a16:creationId xmlns:a16="http://schemas.microsoft.com/office/drawing/2014/main" id="{D7F0DD8A-5B2B-4D06-B849-9594F9D4DB0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A3B80160-0870-44A1-B047-E66A4C225E1B}"/>
                </a:ext>
              </a:extLst>
            </p:cNvPr>
            <p:cNvGrpSpPr/>
            <p:nvPr/>
          </p:nvGrpSpPr>
          <p:grpSpPr>
            <a:xfrm>
              <a:off x="6159081" y="3029377"/>
              <a:ext cx="2084700" cy="377702"/>
              <a:chOff x="6510195" y="1556711"/>
              <a:chExt cx="4675592" cy="847113"/>
            </a:xfrm>
          </p:grpSpPr>
          <p:sp>
            <p:nvSpPr>
              <p:cNvPr id="190" name="Rounded Rectangle">
                <a:extLst>
                  <a:ext uri="{FF2B5EF4-FFF2-40B4-BE49-F238E27FC236}">
                    <a16:creationId xmlns:a16="http://schemas.microsoft.com/office/drawing/2014/main" id="{82788542-A448-4792-AB96-CDE00C16554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1" name="Motion design">
                <a:extLst>
                  <a:ext uri="{FF2B5EF4-FFF2-40B4-BE49-F238E27FC236}">
                    <a16:creationId xmlns:a16="http://schemas.microsoft.com/office/drawing/2014/main" id="{1DA6F6C0-7497-4545-8156-8F78FE7EB5A1}"/>
                  </a:ext>
                </a:extLst>
              </p:cNvPr>
              <p:cNvSpPr txBox="1"/>
              <p:nvPr/>
            </p:nvSpPr>
            <p:spPr>
              <a:xfrm>
                <a:off x="7710250" y="1715394"/>
                <a:ext cx="261348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атегории</a:t>
                </a:r>
              </a:p>
            </p:txBody>
          </p:sp>
          <p:sp>
            <p:nvSpPr>
              <p:cNvPr id="192" name="Circle">
                <a:extLst>
                  <a:ext uri="{FF2B5EF4-FFF2-40B4-BE49-F238E27FC236}">
                    <a16:creationId xmlns:a16="http://schemas.microsoft.com/office/drawing/2014/main" id="{251A4620-CBEA-4FC0-BC66-1B9D2C6028E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94" name="Группа 193">
              <a:extLst>
                <a:ext uri="{FF2B5EF4-FFF2-40B4-BE49-F238E27FC236}">
                  <a16:creationId xmlns:a16="http://schemas.microsoft.com/office/drawing/2014/main" id="{6433C73A-2ABA-4B7F-ADDC-B274EB498B48}"/>
                </a:ext>
              </a:extLst>
            </p:cNvPr>
            <p:cNvGrpSpPr/>
            <p:nvPr/>
          </p:nvGrpSpPr>
          <p:grpSpPr>
            <a:xfrm>
              <a:off x="5066984" y="4064486"/>
              <a:ext cx="2058032" cy="377702"/>
              <a:chOff x="6510195" y="1556711"/>
              <a:chExt cx="4615781" cy="847113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18C5C0AE-B9E1-4BAE-B87E-5C0A858C59E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1578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EE1E4C80-E5AB-4669-B125-8F12A2628026}"/>
                  </a:ext>
                </a:extLst>
              </p:cNvPr>
              <p:cNvSpPr txBox="1"/>
              <p:nvPr/>
            </p:nvSpPr>
            <p:spPr>
              <a:xfrm>
                <a:off x="7824169" y="1724630"/>
                <a:ext cx="2613489" cy="49444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бъединения: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E5BF1060-7CB4-4D91-A743-1220E7FBD94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Motion design">
              <a:extLst>
                <a:ext uri="{FF2B5EF4-FFF2-40B4-BE49-F238E27FC236}">
                  <a16:creationId xmlns:a16="http://schemas.microsoft.com/office/drawing/2014/main" id="{AC0AADF2-C2C1-447F-AC69-7B864E5936B8}"/>
                </a:ext>
              </a:extLst>
            </p:cNvPr>
            <p:cNvSpPr txBox="1"/>
            <p:nvPr/>
          </p:nvSpPr>
          <p:spPr>
            <a:xfrm>
              <a:off x="5189820" y="4469846"/>
              <a:ext cx="2102370" cy="93871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Домохозяйства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Клиент экосистемы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Группы компаний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олдинги</a:t>
              </a:r>
            </a:p>
          </p:txBody>
        </p:sp>
        <p:grpSp>
          <p:nvGrpSpPr>
            <p:cNvPr id="201" name="Группа 200">
              <a:extLst>
                <a:ext uri="{FF2B5EF4-FFF2-40B4-BE49-F238E27FC236}">
                  <a16:creationId xmlns:a16="http://schemas.microsoft.com/office/drawing/2014/main" id="{A9FA9035-D573-42BC-8054-3644ABFA7252}"/>
                </a:ext>
              </a:extLst>
            </p:cNvPr>
            <p:cNvGrpSpPr/>
            <p:nvPr/>
          </p:nvGrpSpPr>
          <p:grpSpPr>
            <a:xfrm>
              <a:off x="6159081" y="3523236"/>
              <a:ext cx="2084700" cy="377702"/>
              <a:chOff x="6510195" y="1556711"/>
              <a:chExt cx="4675592" cy="847113"/>
            </a:xfrm>
          </p:grpSpPr>
          <p:sp>
            <p:nvSpPr>
              <p:cNvPr id="202" name="Rounded Rectangle">
                <a:extLst>
                  <a:ext uri="{FF2B5EF4-FFF2-40B4-BE49-F238E27FC236}">
                    <a16:creationId xmlns:a16="http://schemas.microsoft.com/office/drawing/2014/main" id="{ADA06535-0478-4B38-88D4-C52363B0CC5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03" name="Motion design">
                <a:extLst>
                  <a:ext uri="{FF2B5EF4-FFF2-40B4-BE49-F238E27FC236}">
                    <a16:creationId xmlns:a16="http://schemas.microsoft.com/office/drawing/2014/main" id="{A785FC7D-4A0E-404E-AA3E-7AFC6F67265C}"/>
                  </a:ext>
                </a:extLst>
              </p:cNvPr>
              <p:cNvSpPr txBox="1"/>
              <p:nvPr/>
            </p:nvSpPr>
            <p:spPr>
              <a:xfrm>
                <a:off x="7986459" y="1712963"/>
                <a:ext cx="2337796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 ФЛ</a:t>
                </a:r>
              </a:p>
            </p:txBody>
          </p:sp>
          <p:sp>
            <p:nvSpPr>
              <p:cNvPr id="204" name="Circle">
                <a:extLst>
                  <a:ext uri="{FF2B5EF4-FFF2-40B4-BE49-F238E27FC236}">
                    <a16:creationId xmlns:a16="http://schemas.microsoft.com/office/drawing/2014/main" id="{425CC785-4A9C-4425-ACA4-A89026CACFF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49E0098-DFE5-4653-BD4D-059E0505C8AC}"/>
              </a:ext>
            </a:extLst>
          </p:cNvPr>
          <p:cNvGrpSpPr/>
          <p:nvPr/>
        </p:nvGrpSpPr>
        <p:grpSpPr>
          <a:xfrm>
            <a:off x="13425889" y="1650455"/>
            <a:ext cx="4631585" cy="4089322"/>
            <a:chOff x="13425889" y="1650455"/>
            <a:chExt cx="4631585" cy="4089322"/>
          </a:xfrm>
        </p:grpSpPr>
        <p:sp>
          <p:nvSpPr>
            <p:cNvPr id="151" name="Shape_фон">
              <a:extLst>
                <a:ext uri="{FF2B5EF4-FFF2-40B4-BE49-F238E27FC236}">
                  <a16:creationId xmlns:a16="http://schemas.microsoft.com/office/drawing/2014/main" id="{97CDAEF1-CDF2-4D3C-BE7B-1577FCA1EDB0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25C7B1C2-3B40-43CA-8B43-8897B76775CA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153" name="Shape_фон">
                <a:extLst>
                  <a:ext uri="{FF2B5EF4-FFF2-40B4-BE49-F238E27FC236}">
                    <a16:creationId xmlns:a16="http://schemas.microsoft.com/office/drawing/2014/main" id="{5BF3B914-48D9-4D36-9BC3-4BE53A94F4CC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6" name="Motion design">
                <a:extLst>
                  <a:ext uri="{FF2B5EF4-FFF2-40B4-BE49-F238E27FC236}">
                    <a16:creationId xmlns:a16="http://schemas.microsoft.com/office/drawing/2014/main" id="{59A87EBE-F7F1-4297-A8EC-D3B444AF6F98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62" name="Группа 261">
              <a:extLst>
                <a:ext uri="{FF2B5EF4-FFF2-40B4-BE49-F238E27FC236}">
                  <a16:creationId xmlns:a16="http://schemas.microsoft.com/office/drawing/2014/main" id="{E41F2E32-5A03-411F-9559-F416E35B7C16}"/>
                </a:ext>
              </a:extLst>
            </p:cNvPr>
            <p:cNvGrpSpPr/>
            <p:nvPr/>
          </p:nvGrpSpPr>
          <p:grpSpPr>
            <a:xfrm>
              <a:off x="13425889" y="2932470"/>
              <a:ext cx="2252360" cy="2098966"/>
              <a:chOff x="3851684" y="2998976"/>
              <a:chExt cx="2252360" cy="2098966"/>
            </a:xfrm>
          </p:grpSpPr>
          <p:grpSp>
            <p:nvGrpSpPr>
              <p:cNvPr id="263" name="Группа 262">
                <a:extLst>
                  <a:ext uri="{FF2B5EF4-FFF2-40B4-BE49-F238E27FC236}">
                    <a16:creationId xmlns:a16="http://schemas.microsoft.com/office/drawing/2014/main" id="{C59A2E92-C7E6-45C4-9906-5F72A4C95440}"/>
                  </a:ext>
                </a:extLst>
              </p:cNvPr>
              <p:cNvGrpSpPr/>
              <p:nvPr/>
            </p:nvGrpSpPr>
            <p:grpSpPr>
              <a:xfrm>
                <a:off x="3851684" y="4720240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4" name="Rounded Rectangle">
                  <a:extLst>
                    <a:ext uri="{FF2B5EF4-FFF2-40B4-BE49-F238E27FC236}">
                      <a16:creationId xmlns:a16="http://schemas.microsoft.com/office/drawing/2014/main" id="{289F0357-23BE-4854-8B0E-B16D5DC751C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5" name="Motion design">
                  <a:extLst>
                    <a:ext uri="{FF2B5EF4-FFF2-40B4-BE49-F238E27FC236}">
                      <a16:creationId xmlns:a16="http://schemas.microsoft.com/office/drawing/2014/main" id="{8FD40365-60AF-402D-8345-A78504C36281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 и услуги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6" name="Circle">
                  <a:extLst>
                    <a:ext uri="{FF2B5EF4-FFF2-40B4-BE49-F238E27FC236}">
                      <a16:creationId xmlns:a16="http://schemas.microsoft.com/office/drawing/2014/main" id="{55556C5C-585D-4965-92DC-EDFFDFFB430D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4" name="Группа 263">
                <a:extLst>
                  <a:ext uri="{FF2B5EF4-FFF2-40B4-BE49-F238E27FC236}">
                    <a16:creationId xmlns:a16="http://schemas.microsoft.com/office/drawing/2014/main" id="{69246239-B145-493D-AD0B-8524F5674A24}"/>
                  </a:ext>
                </a:extLst>
              </p:cNvPr>
              <p:cNvGrpSpPr/>
              <p:nvPr/>
            </p:nvGrpSpPr>
            <p:grpSpPr>
              <a:xfrm>
                <a:off x="3851684" y="4289924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0" name="Rounded Rectangle">
                  <a:extLst>
                    <a:ext uri="{FF2B5EF4-FFF2-40B4-BE49-F238E27FC236}">
                      <a16:creationId xmlns:a16="http://schemas.microsoft.com/office/drawing/2014/main" id="{278193B6-D466-46CA-80C5-FC2A2EA0330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1" name="Motion design">
                  <a:extLst>
                    <a:ext uri="{FF2B5EF4-FFF2-40B4-BE49-F238E27FC236}">
                      <a16:creationId xmlns:a16="http://schemas.microsoft.com/office/drawing/2014/main" id="{03006569-426D-4442-B878-8572B9BBB73E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владения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2" name="Circle">
                  <a:extLst>
                    <a:ext uri="{FF2B5EF4-FFF2-40B4-BE49-F238E27FC236}">
                      <a16:creationId xmlns:a16="http://schemas.microsoft.com/office/drawing/2014/main" id="{3E4CDE55-4FB9-43C7-84E7-9A79F833D3B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5" name="Группа 264">
                <a:extLst>
                  <a:ext uri="{FF2B5EF4-FFF2-40B4-BE49-F238E27FC236}">
                    <a16:creationId xmlns:a16="http://schemas.microsoft.com/office/drawing/2014/main" id="{D419F041-B85C-4B12-9B3B-28BA8D83B870}"/>
                  </a:ext>
                </a:extLst>
              </p:cNvPr>
              <p:cNvGrpSpPr/>
              <p:nvPr/>
            </p:nvGrpSpPr>
            <p:grpSpPr>
              <a:xfrm>
                <a:off x="3851684" y="3859608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6" name="Rounded Rectangle">
                  <a:extLst>
                    <a:ext uri="{FF2B5EF4-FFF2-40B4-BE49-F238E27FC236}">
                      <a16:creationId xmlns:a16="http://schemas.microsoft.com/office/drawing/2014/main" id="{42333950-A6EE-4837-A25E-63C37DA2E513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7" name="Motion design">
                  <a:extLst>
                    <a:ext uri="{FF2B5EF4-FFF2-40B4-BE49-F238E27FC236}">
                      <a16:creationId xmlns:a16="http://schemas.microsoft.com/office/drawing/2014/main" id="{4EBE1E0E-7282-4D8E-9780-D64CB9732650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8" name="Circle">
                  <a:extLst>
                    <a:ext uri="{FF2B5EF4-FFF2-40B4-BE49-F238E27FC236}">
                      <a16:creationId xmlns:a16="http://schemas.microsoft.com/office/drawing/2014/main" id="{CA3FECCD-53B7-4CAF-9096-0190232E84E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6" name="Группа 265">
                <a:extLst>
                  <a:ext uri="{FF2B5EF4-FFF2-40B4-BE49-F238E27FC236}">
                    <a16:creationId xmlns:a16="http://schemas.microsoft.com/office/drawing/2014/main" id="{EAD3F4A6-D0B4-4C46-AC84-296F1B972707}"/>
                  </a:ext>
                </a:extLst>
              </p:cNvPr>
              <p:cNvGrpSpPr/>
              <p:nvPr/>
            </p:nvGrpSpPr>
            <p:grpSpPr>
              <a:xfrm>
                <a:off x="3851684" y="3429292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2" name="Rounded Rectangle">
                  <a:extLst>
                    <a:ext uri="{FF2B5EF4-FFF2-40B4-BE49-F238E27FC236}">
                      <a16:creationId xmlns:a16="http://schemas.microsoft.com/office/drawing/2014/main" id="{F20B754D-5359-49BC-80FE-844B4DBF3455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3" name="Motion design">
                  <a:extLst>
                    <a:ext uri="{FF2B5EF4-FFF2-40B4-BE49-F238E27FC236}">
                      <a16:creationId xmlns:a16="http://schemas.microsoft.com/office/drawing/2014/main" id="{6597A7C0-2859-45CD-AE34-CE494436497A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4" name="Circle">
                  <a:extLst>
                    <a:ext uri="{FF2B5EF4-FFF2-40B4-BE49-F238E27FC236}">
                      <a16:creationId xmlns:a16="http://schemas.microsoft.com/office/drawing/2014/main" id="{DEA63950-9723-430A-AB48-2E40D09216BC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7" name="Группа 266">
                <a:extLst>
                  <a:ext uri="{FF2B5EF4-FFF2-40B4-BE49-F238E27FC236}">
                    <a16:creationId xmlns:a16="http://schemas.microsoft.com/office/drawing/2014/main" id="{4A8898E9-83AE-42FB-B9AB-A8D93134FEC6}"/>
                  </a:ext>
                </a:extLst>
              </p:cNvPr>
              <p:cNvGrpSpPr/>
              <p:nvPr/>
            </p:nvGrpSpPr>
            <p:grpSpPr>
              <a:xfrm>
                <a:off x="3851684" y="2998976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68" name="Rounded Rectangle">
                  <a:extLst>
                    <a:ext uri="{FF2B5EF4-FFF2-40B4-BE49-F238E27FC236}">
                      <a16:creationId xmlns:a16="http://schemas.microsoft.com/office/drawing/2014/main" id="{B5CD6FAC-12E5-4E07-87C2-2F3BE21CD42E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9" name="Motion design">
                  <a:extLst>
                    <a:ext uri="{FF2B5EF4-FFF2-40B4-BE49-F238E27FC236}">
                      <a16:creationId xmlns:a16="http://schemas.microsoft.com/office/drawing/2014/main" id="{E6244FB0-4942-42A7-93AB-8B8479006C95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0" name="Circle">
                  <a:extLst>
                    <a:ext uri="{FF2B5EF4-FFF2-40B4-BE49-F238E27FC236}">
                      <a16:creationId xmlns:a16="http://schemas.microsoft.com/office/drawing/2014/main" id="{3AD9BBFF-E781-4333-A050-88C49E0B6A7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8" name="Группа 287">
              <a:extLst>
                <a:ext uri="{FF2B5EF4-FFF2-40B4-BE49-F238E27FC236}">
                  <a16:creationId xmlns:a16="http://schemas.microsoft.com/office/drawing/2014/main" id="{EA052F31-1E61-44AF-9CA5-5736A56FDD3E}"/>
                </a:ext>
              </a:extLst>
            </p:cNvPr>
            <p:cNvGrpSpPr/>
            <p:nvPr/>
          </p:nvGrpSpPr>
          <p:grpSpPr>
            <a:xfrm>
              <a:off x="15743677" y="5084050"/>
              <a:ext cx="2252360" cy="377702"/>
              <a:chOff x="6510195" y="1556711"/>
              <a:chExt cx="5051622" cy="847113"/>
            </a:xfrm>
          </p:grpSpPr>
          <p:sp>
            <p:nvSpPr>
              <p:cNvPr id="289" name="Rounded Rectangle">
                <a:extLst>
                  <a:ext uri="{FF2B5EF4-FFF2-40B4-BE49-F238E27FC236}">
                    <a16:creationId xmlns:a16="http://schemas.microsoft.com/office/drawing/2014/main" id="{07813257-800A-4E49-B66A-F253442510D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0" name="Motion design">
                <a:extLst>
                  <a:ext uri="{FF2B5EF4-FFF2-40B4-BE49-F238E27FC236}">
                    <a16:creationId xmlns:a16="http://schemas.microsoft.com/office/drawing/2014/main" id="{BD6F00DA-3014-4BC0-819C-AC52BD6DA427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нкета ПОД/ФТ</a:t>
                </a:r>
              </a:p>
            </p:txBody>
          </p:sp>
          <p:sp>
            <p:nvSpPr>
              <p:cNvPr id="291" name="Circle">
                <a:extLst>
                  <a:ext uri="{FF2B5EF4-FFF2-40B4-BE49-F238E27FC236}">
                    <a16:creationId xmlns:a16="http://schemas.microsoft.com/office/drawing/2014/main" id="{4D0A0499-6BFC-44E2-BE46-9428358CD094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3" name="Группа 292">
              <a:extLst>
                <a:ext uri="{FF2B5EF4-FFF2-40B4-BE49-F238E27FC236}">
                  <a16:creationId xmlns:a16="http://schemas.microsoft.com/office/drawing/2014/main" id="{25C90126-C469-4BA5-BE70-E86D99DB19D6}"/>
                </a:ext>
              </a:extLst>
            </p:cNvPr>
            <p:cNvGrpSpPr/>
            <p:nvPr/>
          </p:nvGrpSpPr>
          <p:grpSpPr>
            <a:xfrm>
              <a:off x="15743677" y="4653734"/>
              <a:ext cx="2252360" cy="377702"/>
              <a:chOff x="6510195" y="1556711"/>
              <a:chExt cx="5051622" cy="847113"/>
            </a:xfrm>
          </p:grpSpPr>
          <p:sp>
            <p:nvSpPr>
              <p:cNvPr id="294" name="Rounded Rectangle">
                <a:extLst>
                  <a:ext uri="{FF2B5EF4-FFF2-40B4-BE49-F238E27FC236}">
                    <a16:creationId xmlns:a16="http://schemas.microsoft.com/office/drawing/2014/main" id="{2B0996F8-51FD-4272-BEDD-E19C692CF635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5" name="Motion design">
                <a:extLst>
                  <a:ext uri="{FF2B5EF4-FFF2-40B4-BE49-F238E27FC236}">
                    <a16:creationId xmlns:a16="http://schemas.microsoft.com/office/drawing/2014/main" id="{A8FF7ECB-89AF-43B5-8BA4-050458623D2B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трибуты связей</a:t>
                </a:r>
              </a:p>
            </p:txBody>
          </p:sp>
          <p:sp>
            <p:nvSpPr>
              <p:cNvPr id="296" name="Circle">
                <a:extLst>
                  <a:ext uri="{FF2B5EF4-FFF2-40B4-BE49-F238E27FC236}">
                    <a16:creationId xmlns:a16="http://schemas.microsoft.com/office/drawing/2014/main" id="{C6A41059-A605-4F94-B47F-E630074BDABC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8" name="Группа 297">
              <a:extLst>
                <a:ext uri="{FF2B5EF4-FFF2-40B4-BE49-F238E27FC236}">
                  <a16:creationId xmlns:a16="http://schemas.microsoft.com/office/drawing/2014/main" id="{42D1BF5E-5F4F-4E29-AAD6-8AE9F1FABC3E}"/>
                </a:ext>
              </a:extLst>
            </p:cNvPr>
            <p:cNvGrpSpPr/>
            <p:nvPr/>
          </p:nvGrpSpPr>
          <p:grpSpPr>
            <a:xfrm>
              <a:off x="15743677" y="4223418"/>
              <a:ext cx="2252360" cy="377702"/>
              <a:chOff x="6510195" y="1556711"/>
              <a:chExt cx="5051622" cy="847113"/>
            </a:xfrm>
          </p:grpSpPr>
          <p:sp>
            <p:nvSpPr>
              <p:cNvPr id="299" name="Rounded Rectangle">
                <a:extLst>
                  <a:ext uri="{FF2B5EF4-FFF2-40B4-BE49-F238E27FC236}">
                    <a16:creationId xmlns:a16="http://schemas.microsoft.com/office/drawing/2014/main" id="{6F317413-EDCB-4881-8B34-A2BDAA7B1F1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0" name="Motion design">
                <a:extLst>
                  <a:ext uri="{FF2B5EF4-FFF2-40B4-BE49-F238E27FC236}">
                    <a16:creationId xmlns:a16="http://schemas.microsoft.com/office/drawing/2014/main" id="{23081F63-AD2E-49F4-B9D7-655384ED0E4F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Фин. показатели</a:t>
                </a:r>
              </a:p>
            </p:txBody>
          </p:sp>
          <p:sp>
            <p:nvSpPr>
              <p:cNvPr id="301" name="Circle">
                <a:extLst>
                  <a:ext uri="{FF2B5EF4-FFF2-40B4-BE49-F238E27FC236}">
                    <a16:creationId xmlns:a16="http://schemas.microsoft.com/office/drawing/2014/main" id="{40A7E7E2-7DCB-4AA0-B7A8-07CC36E61A1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3" name="Группа 302">
              <a:extLst>
                <a:ext uri="{FF2B5EF4-FFF2-40B4-BE49-F238E27FC236}">
                  <a16:creationId xmlns:a16="http://schemas.microsoft.com/office/drawing/2014/main" id="{DCAF59F3-3AE1-4ADD-BCFF-92E1A924FC97}"/>
                </a:ext>
              </a:extLst>
            </p:cNvPr>
            <p:cNvGrpSpPr/>
            <p:nvPr/>
          </p:nvGrpSpPr>
          <p:grpSpPr>
            <a:xfrm>
              <a:off x="15743677" y="3793102"/>
              <a:ext cx="2252360" cy="377702"/>
              <a:chOff x="6510195" y="1556711"/>
              <a:chExt cx="5051622" cy="847113"/>
            </a:xfrm>
          </p:grpSpPr>
          <p:sp>
            <p:nvSpPr>
              <p:cNvPr id="304" name="Rounded Rectangle">
                <a:extLst>
                  <a:ext uri="{FF2B5EF4-FFF2-40B4-BE49-F238E27FC236}">
                    <a16:creationId xmlns:a16="http://schemas.microsoft.com/office/drawing/2014/main" id="{F20ABDC3-E367-4DAE-8FAD-DB2DE342B7D9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5" name="Motion design">
                <a:extLst>
                  <a:ext uri="{FF2B5EF4-FFF2-40B4-BE49-F238E27FC236}">
                    <a16:creationId xmlns:a16="http://schemas.microsoft.com/office/drawing/2014/main" id="{A18A400D-3F43-4142-95B3-86BAC54E7DCA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Коммуникации</a:t>
                </a: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306" name="Circle">
                <a:extLst>
                  <a:ext uri="{FF2B5EF4-FFF2-40B4-BE49-F238E27FC236}">
                    <a16:creationId xmlns:a16="http://schemas.microsoft.com/office/drawing/2014/main" id="{0157086B-5431-4945-B358-AE710E8D555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8" name="Группа 307">
              <a:extLst>
                <a:ext uri="{FF2B5EF4-FFF2-40B4-BE49-F238E27FC236}">
                  <a16:creationId xmlns:a16="http://schemas.microsoft.com/office/drawing/2014/main" id="{EED2E0EE-B3F9-4D96-AE81-FA3F27B2DFBD}"/>
                </a:ext>
              </a:extLst>
            </p:cNvPr>
            <p:cNvGrpSpPr/>
            <p:nvPr/>
          </p:nvGrpSpPr>
          <p:grpSpPr>
            <a:xfrm>
              <a:off x="15743677" y="3362786"/>
              <a:ext cx="2252360" cy="377702"/>
              <a:chOff x="6510195" y="1556711"/>
              <a:chExt cx="5051622" cy="847113"/>
            </a:xfrm>
          </p:grpSpPr>
          <p:sp>
            <p:nvSpPr>
              <p:cNvPr id="309" name="Rounded Rectangle">
                <a:extLst>
                  <a:ext uri="{FF2B5EF4-FFF2-40B4-BE49-F238E27FC236}">
                    <a16:creationId xmlns:a16="http://schemas.microsoft.com/office/drawing/2014/main" id="{BE14154B-7158-4F97-B4E9-154C76DF8AF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0" name="Motion design">
                <a:extLst>
                  <a:ext uri="{FF2B5EF4-FFF2-40B4-BE49-F238E27FC236}">
                    <a16:creationId xmlns:a16="http://schemas.microsoft.com/office/drawing/2014/main" id="{B688A0B8-EE9C-4CB6-B68F-B7F14DD8400D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Сессии, </a:t>
                </a:r>
                <a:r>
                  <a:rPr lang="en-US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ookie</a:t>
                </a:r>
              </a:p>
            </p:txBody>
          </p:sp>
          <p:sp>
            <p:nvSpPr>
              <p:cNvPr id="311" name="Circle">
                <a:extLst>
                  <a:ext uri="{FF2B5EF4-FFF2-40B4-BE49-F238E27FC236}">
                    <a16:creationId xmlns:a16="http://schemas.microsoft.com/office/drawing/2014/main" id="{16308C5B-3AA7-488A-9573-1028CC69784B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13" name="Группа 312">
              <a:extLst>
                <a:ext uri="{FF2B5EF4-FFF2-40B4-BE49-F238E27FC236}">
                  <a16:creationId xmlns:a16="http://schemas.microsoft.com/office/drawing/2014/main" id="{1D7A8E20-52F0-4511-8FCB-CD7027382CC8}"/>
                </a:ext>
              </a:extLst>
            </p:cNvPr>
            <p:cNvGrpSpPr/>
            <p:nvPr/>
          </p:nvGrpSpPr>
          <p:grpSpPr>
            <a:xfrm>
              <a:off x="15743677" y="2932470"/>
              <a:ext cx="2252360" cy="377702"/>
              <a:chOff x="6510195" y="1556711"/>
              <a:chExt cx="5051622" cy="847113"/>
            </a:xfrm>
          </p:grpSpPr>
          <p:sp>
            <p:nvSpPr>
              <p:cNvPr id="314" name="Rounded Rectangle">
                <a:extLst>
                  <a:ext uri="{FF2B5EF4-FFF2-40B4-BE49-F238E27FC236}">
                    <a16:creationId xmlns:a16="http://schemas.microsoft.com/office/drawing/2014/main" id="{E1E10827-5611-40A3-8C2B-30094B7D37B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5" name="Motion design">
                <a:extLst>
                  <a:ext uri="{FF2B5EF4-FFF2-40B4-BE49-F238E27FC236}">
                    <a16:creationId xmlns:a16="http://schemas.microsoft.com/office/drawing/2014/main" id="{5B37F1AF-E47B-487A-A596-EDDC7C1BE77B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Устройства </a:t>
                </a:r>
              </a:p>
            </p:txBody>
          </p:sp>
          <p:sp>
            <p:nvSpPr>
              <p:cNvPr id="316" name="Circle">
                <a:extLst>
                  <a:ext uri="{FF2B5EF4-FFF2-40B4-BE49-F238E27FC236}">
                    <a16:creationId xmlns:a16="http://schemas.microsoft.com/office/drawing/2014/main" id="{2EE67615-E0F1-459C-8B41-E2F2D368E03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6AF7201-AD0E-4A6D-BDC0-37CC6B7CCB04}"/>
              </a:ext>
            </a:extLst>
          </p:cNvPr>
          <p:cNvGrpSpPr/>
          <p:nvPr/>
        </p:nvGrpSpPr>
        <p:grpSpPr>
          <a:xfrm>
            <a:off x="18509319" y="1650455"/>
            <a:ext cx="4627594" cy="4089322"/>
            <a:chOff x="18509319" y="1650455"/>
            <a:chExt cx="4627594" cy="4089322"/>
          </a:xfrm>
        </p:grpSpPr>
        <p:sp>
          <p:nvSpPr>
            <p:cNvPr id="319" name="Shape_фон">
              <a:extLst>
                <a:ext uri="{FF2B5EF4-FFF2-40B4-BE49-F238E27FC236}">
                  <a16:creationId xmlns:a16="http://schemas.microsoft.com/office/drawing/2014/main" id="{45EBD626-779E-47D0-9A1F-0A7B9F2BC212}"/>
                </a:ext>
              </a:extLst>
            </p:cNvPr>
            <p:cNvSpPr/>
            <p:nvPr/>
          </p:nvSpPr>
          <p:spPr>
            <a:xfrm>
              <a:off x="18509319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320" name="Группа 319">
              <a:extLst>
                <a:ext uri="{FF2B5EF4-FFF2-40B4-BE49-F238E27FC236}">
                  <a16:creationId xmlns:a16="http://schemas.microsoft.com/office/drawing/2014/main" id="{CE572A51-9FB7-463D-B00B-E42F5D9724B4}"/>
                </a:ext>
              </a:extLst>
            </p:cNvPr>
            <p:cNvGrpSpPr/>
            <p:nvPr/>
          </p:nvGrpSpPr>
          <p:grpSpPr>
            <a:xfrm>
              <a:off x="19696936" y="1650455"/>
              <a:ext cx="2252360" cy="1143115"/>
              <a:chOff x="8681847" y="1717853"/>
              <a:chExt cx="2252360" cy="1143115"/>
            </a:xfrm>
          </p:grpSpPr>
          <p:sp>
            <p:nvSpPr>
              <p:cNvPr id="347" name="Shape_фон">
                <a:extLst>
                  <a:ext uri="{FF2B5EF4-FFF2-40B4-BE49-F238E27FC236}">
                    <a16:creationId xmlns:a16="http://schemas.microsoft.com/office/drawing/2014/main" id="{735E52EA-1EC8-4AC6-8EEE-0A1E2724B70C}"/>
                  </a:ext>
                </a:extLst>
              </p:cNvPr>
              <p:cNvSpPr/>
              <p:nvPr/>
            </p:nvSpPr>
            <p:spPr>
              <a:xfrm>
                <a:off x="8681847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>
                  <a:defRPr/>
                </a:pPr>
                <a:endPara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48" name="Motion design">
                <a:extLst>
                  <a:ext uri="{FF2B5EF4-FFF2-40B4-BE49-F238E27FC236}">
                    <a16:creationId xmlns:a16="http://schemas.microsoft.com/office/drawing/2014/main" id="{2DC44947-AD84-46BB-A2DD-CA8C59E8D3F5}"/>
                  </a:ext>
                </a:extLst>
              </p:cNvPr>
              <p:cNvSpPr txBox="1"/>
              <p:nvPr/>
            </p:nvSpPr>
            <p:spPr>
              <a:xfrm>
                <a:off x="8985083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I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ntegration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350" name="Группа 349">
              <a:extLst>
                <a:ext uri="{FF2B5EF4-FFF2-40B4-BE49-F238E27FC236}">
                  <a16:creationId xmlns:a16="http://schemas.microsoft.com/office/drawing/2014/main" id="{237A98B4-8C73-4612-9A3A-89E960745EFE}"/>
                </a:ext>
              </a:extLst>
            </p:cNvPr>
            <p:cNvGrpSpPr/>
            <p:nvPr/>
          </p:nvGrpSpPr>
          <p:grpSpPr>
            <a:xfrm>
              <a:off x="18578246" y="2946251"/>
              <a:ext cx="2203178" cy="377702"/>
              <a:chOff x="6510195" y="1556711"/>
              <a:chExt cx="4941315" cy="847113"/>
            </a:xfrm>
          </p:grpSpPr>
          <p:sp>
            <p:nvSpPr>
              <p:cNvPr id="356" name="Rounded Rectangle">
                <a:extLst>
                  <a:ext uri="{FF2B5EF4-FFF2-40B4-BE49-F238E27FC236}">
                    <a16:creationId xmlns:a16="http://schemas.microsoft.com/office/drawing/2014/main" id="{96F43E0C-E9AD-4B44-86EA-BFCC8E2AED9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5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7" name="Motion design">
                <a:extLst>
                  <a:ext uri="{FF2B5EF4-FFF2-40B4-BE49-F238E27FC236}">
                    <a16:creationId xmlns:a16="http://schemas.microsoft.com/office/drawing/2014/main" id="{D4206B10-A86D-4CB5-98D4-05CAA3791F57}"/>
                  </a:ext>
                </a:extLst>
              </p:cNvPr>
              <p:cNvSpPr txBox="1"/>
              <p:nvPr/>
            </p:nvSpPr>
            <p:spPr>
              <a:xfrm>
                <a:off x="7501218" y="1748637"/>
                <a:ext cx="3273109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акет, </a:t>
                </a:r>
                <a:r>
                  <a:rPr lang="en-US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OAP, JMS</a:t>
                </a:r>
              </a:p>
            </p:txBody>
          </p:sp>
          <p:sp>
            <p:nvSpPr>
              <p:cNvPr id="358" name="Circle">
                <a:extLst>
                  <a:ext uri="{FF2B5EF4-FFF2-40B4-BE49-F238E27FC236}">
                    <a16:creationId xmlns:a16="http://schemas.microsoft.com/office/drawing/2014/main" id="{82B78E9B-4C28-424A-AB13-13D9E996841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51" name="Группа 350">
              <a:extLst>
                <a:ext uri="{FF2B5EF4-FFF2-40B4-BE49-F238E27FC236}">
                  <a16:creationId xmlns:a16="http://schemas.microsoft.com/office/drawing/2014/main" id="{0AE5510D-E497-4942-A2C9-212770DF009A}"/>
                </a:ext>
              </a:extLst>
            </p:cNvPr>
            <p:cNvGrpSpPr/>
            <p:nvPr/>
          </p:nvGrpSpPr>
          <p:grpSpPr>
            <a:xfrm>
              <a:off x="18578246" y="3417126"/>
              <a:ext cx="2203177" cy="377702"/>
              <a:chOff x="6510195" y="1556711"/>
              <a:chExt cx="4941313" cy="847113"/>
            </a:xfrm>
          </p:grpSpPr>
          <p:sp>
            <p:nvSpPr>
              <p:cNvPr id="352" name="Rounded Rectangle">
                <a:extLst>
                  <a:ext uri="{FF2B5EF4-FFF2-40B4-BE49-F238E27FC236}">
                    <a16:creationId xmlns:a16="http://schemas.microsoft.com/office/drawing/2014/main" id="{8426E8C8-B852-4C6A-9344-60952F52F9C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3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3" name="Motion design">
                <a:extLst>
                  <a:ext uri="{FF2B5EF4-FFF2-40B4-BE49-F238E27FC236}">
                    <a16:creationId xmlns:a16="http://schemas.microsoft.com/office/drawing/2014/main" id="{49CCBC94-A573-4D7E-8E3B-F0FEC030BEFC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327310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нешние источники </a:t>
                </a:r>
                <a:endParaRPr lang="en-US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54" name="Circle">
                <a:extLst>
                  <a:ext uri="{FF2B5EF4-FFF2-40B4-BE49-F238E27FC236}">
                    <a16:creationId xmlns:a16="http://schemas.microsoft.com/office/drawing/2014/main" id="{D72D4B6D-4B24-4259-ADFF-D928F7ECC0A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0" name="Группа 359">
              <a:extLst>
                <a:ext uri="{FF2B5EF4-FFF2-40B4-BE49-F238E27FC236}">
                  <a16:creationId xmlns:a16="http://schemas.microsoft.com/office/drawing/2014/main" id="{328E7CCF-5BFA-4CB0-8D4F-CEC53FDF6791}"/>
                </a:ext>
              </a:extLst>
            </p:cNvPr>
            <p:cNvGrpSpPr/>
            <p:nvPr/>
          </p:nvGrpSpPr>
          <p:grpSpPr>
            <a:xfrm>
              <a:off x="18578246" y="3888001"/>
              <a:ext cx="2203176" cy="410563"/>
              <a:chOff x="6510195" y="1483010"/>
              <a:chExt cx="4941311" cy="920814"/>
            </a:xfrm>
          </p:grpSpPr>
          <p:sp>
            <p:nvSpPr>
              <p:cNvPr id="361" name="Rounded Rectangle">
                <a:extLst>
                  <a:ext uri="{FF2B5EF4-FFF2-40B4-BE49-F238E27FC236}">
                    <a16:creationId xmlns:a16="http://schemas.microsoft.com/office/drawing/2014/main" id="{C6554C3E-D93B-43EE-BDB1-FEC8714096E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2" name="Motion design">
                <a:extLst>
                  <a:ext uri="{FF2B5EF4-FFF2-40B4-BE49-F238E27FC236}">
                    <a16:creationId xmlns:a16="http://schemas.microsoft.com/office/drawing/2014/main" id="{80178749-82BD-40A9-85C1-0EAE033F5B6F}"/>
                  </a:ext>
                </a:extLst>
              </p:cNvPr>
              <p:cNvSpPr txBox="1"/>
              <p:nvPr/>
            </p:nvSpPr>
            <p:spPr>
              <a:xfrm>
                <a:off x="7434557" y="1483010"/>
                <a:ext cx="327310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нфигуратор событий</a:t>
                </a:r>
                <a:b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ратного потока</a:t>
                </a:r>
              </a:p>
            </p:txBody>
          </p:sp>
          <p:sp>
            <p:nvSpPr>
              <p:cNvPr id="363" name="Circle">
                <a:extLst>
                  <a:ext uri="{FF2B5EF4-FFF2-40B4-BE49-F238E27FC236}">
                    <a16:creationId xmlns:a16="http://schemas.microsoft.com/office/drawing/2014/main" id="{BC517774-2536-49EC-808F-384A59D7DF6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5" name="Группа 364">
              <a:extLst>
                <a:ext uri="{FF2B5EF4-FFF2-40B4-BE49-F238E27FC236}">
                  <a16:creationId xmlns:a16="http://schemas.microsoft.com/office/drawing/2014/main" id="{0EA910EE-5A92-4FBA-B481-15B765E60C6A}"/>
                </a:ext>
              </a:extLst>
            </p:cNvPr>
            <p:cNvGrpSpPr/>
            <p:nvPr/>
          </p:nvGrpSpPr>
          <p:grpSpPr>
            <a:xfrm>
              <a:off x="20855624" y="2946251"/>
              <a:ext cx="2203175" cy="377702"/>
              <a:chOff x="6510195" y="1556711"/>
              <a:chExt cx="4941309" cy="847113"/>
            </a:xfrm>
          </p:grpSpPr>
          <p:sp>
            <p:nvSpPr>
              <p:cNvPr id="366" name="Rounded Rectangle">
                <a:extLst>
                  <a:ext uri="{FF2B5EF4-FFF2-40B4-BE49-F238E27FC236}">
                    <a16:creationId xmlns:a16="http://schemas.microsoft.com/office/drawing/2014/main" id="{3F312BF2-7D70-4CFD-B639-CFD58660B578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7" name="Motion design">
                <a:extLst>
                  <a:ext uri="{FF2B5EF4-FFF2-40B4-BE49-F238E27FC236}">
                    <a16:creationId xmlns:a16="http://schemas.microsoft.com/office/drawing/2014/main" id="{254F5EFE-8A55-43C4-B6A4-076FEFEE7432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атастрофоустойчивость</a:t>
                </a:r>
                <a:endParaRPr lang="ru-RU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68" name="Circle">
                <a:extLst>
                  <a:ext uri="{FF2B5EF4-FFF2-40B4-BE49-F238E27FC236}">
                    <a16:creationId xmlns:a16="http://schemas.microsoft.com/office/drawing/2014/main" id="{D9EF932D-2ED3-4098-91C3-161186A21C3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0" name="Группа 369">
              <a:extLst>
                <a:ext uri="{FF2B5EF4-FFF2-40B4-BE49-F238E27FC236}">
                  <a16:creationId xmlns:a16="http://schemas.microsoft.com/office/drawing/2014/main" id="{B4260DB8-6BD2-426E-8349-36F31E084E34}"/>
                </a:ext>
              </a:extLst>
            </p:cNvPr>
            <p:cNvGrpSpPr/>
            <p:nvPr/>
          </p:nvGrpSpPr>
          <p:grpSpPr>
            <a:xfrm>
              <a:off x="20855623" y="3413469"/>
              <a:ext cx="2203175" cy="417111"/>
              <a:chOff x="6510195" y="1468324"/>
              <a:chExt cx="4941309" cy="935500"/>
            </a:xfrm>
          </p:grpSpPr>
          <p:sp>
            <p:nvSpPr>
              <p:cNvPr id="371" name="Rounded Rectangle">
                <a:extLst>
                  <a:ext uri="{FF2B5EF4-FFF2-40B4-BE49-F238E27FC236}">
                    <a16:creationId xmlns:a16="http://schemas.microsoft.com/office/drawing/2014/main" id="{816C08C8-4224-43E5-AD58-17EC657AEEE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2" name="Motion design">
                <a:extLst>
                  <a:ext uri="{FF2B5EF4-FFF2-40B4-BE49-F238E27FC236}">
                    <a16:creationId xmlns:a16="http://schemas.microsoft.com/office/drawing/2014/main" id="{542287C3-CD71-4350-8BD6-CAC28C234816}"/>
                  </a:ext>
                </a:extLst>
              </p:cNvPr>
              <p:cNvSpPr txBox="1"/>
              <p:nvPr/>
            </p:nvSpPr>
            <p:spPr>
              <a:xfrm>
                <a:off x="7434557" y="1468324"/>
                <a:ext cx="401694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пределенные вычисления</a:t>
                </a:r>
              </a:p>
            </p:txBody>
          </p:sp>
          <p:sp>
            <p:nvSpPr>
              <p:cNvPr id="373" name="Circle">
                <a:extLst>
                  <a:ext uri="{FF2B5EF4-FFF2-40B4-BE49-F238E27FC236}">
                    <a16:creationId xmlns:a16="http://schemas.microsoft.com/office/drawing/2014/main" id="{0F160C5E-6E58-42E0-8DEB-AC8FDB4C6D2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5" name="Группа 374">
              <a:extLst>
                <a:ext uri="{FF2B5EF4-FFF2-40B4-BE49-F238E27FC236}">
                  <a16:creationId xmlns:a16="http://schemas.microsoft.com/office/drawing/2014/main" id="{CD877F1C-083F-47E7-8E8C-70D5E937F719}"/>
                </a:ext>
              </a:extLst>
            </p:cNvPr>
            <p:cNvGrpSpPr/>
            <p:nvPr/>
          </p:nvGrpSpPr>
          <p:grpSpPr>
            <a:xfrm>
              <a:off x="20855623" y="3920096"/>
              <a:ext cx="2203175" cy="377702"/>
              <a:chOff x="6510195" y="1556711"/>
              <a:chExt cx="4941309" cy="847113"/>
            </a:xfrm>
          </p:grpSpPr>
          <p:sp>
            <p:nvSpPr>
              <p:cNvPr id="376" name="Rounded Rectangle">
                <a:extLst>
                  <a:ext uri="{FF2B5EF4-FFF2-40B4-BE49-F238E27FC236}">
                    <a16:creationId xmlns:a16="http://schemas.microsoft.com/office/drawing/2014/main" id="{B197909D-86CE-4776-B439-FA8092D64C4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7" name="Motion design">
                <a:extLst>
                  <a:ext uri="{FF2B5EF4-FFF2-40B4-BE49-F238E27FC236}">
                    <a16:creationId xmlns:a16="http://schemas.microsoft.com/office/drawing/2014/main" id="{4C989649-0585-463F-BAFF-76C260C7DE59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внутри экосистемы</a:t>
                </a:r>
              </a:p>
            </p:txBody>
          </p:sp>
          <p:sp>
            <p:nvSpPr>
              <p:cNvPr id="378" name="Circle">
                <a:extLst>
                  <a:ext uri="{FF2B5EF4-FFF2-40B4-BE49-F238E27FC236}">
                    <a16:creationId xmlns:a16="http://schemas.microsoft.com/office/drawing/2014/main" id="{9F2F0D6E-1BD5-43FD-B322-98AA56CCA932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80" name="Группа 379">
              <a:extLst>
                <a:ext uri="{FF2B5EF4-FFF2-40B4-BE49-F238E27FC236}">
                  <a16:creationId xmlns:a16="http://schemas.microsoft.com/office/drawing/2014/main" id="{165E1C6D-5168-4FAA-8105-FEB630DE5FA1}"/>
                </a:ext>
              </a:extLst>
            </p:cNvPr>
            <p:cNvGrpSpPr/>
            <p:nvPr/>
          </p:nvGrpSpPr>
          <p:grpSpPr>
            <a:xfrm>
              <a:off x="20855623" y="4387314"/>
              <a:ext cx="2203175" cy="377702"/>
              <a:chOff x="6510195" y="1556711"/>
              <a:chExt cx="4941309" cy="847113"/>
            </a:xfrm>
          </p:grpSpPr>
          <p:sp>
            <p:nvSpPr>
              <p:cNvPr id="381" name="Rounded Rectangle">
                <a:extLst>
                  <a:ext uri="{FF2B5EF4-FFF2-40B4-BE49-F238E27FC236}">
                    <a16:creationId xmlns:a16="http://schemas.microsoft.com/office/drawing/2014/main" id="{C8720C13-3663-4B3D-A8E2-C2393C3F873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82" name="Motion design">
                <a:extLst>
                  <a:ext uri="{FF2B5EF4-FFF2-40B4-BE49-F238E27FC236}">
                    <a16:creationId xmlns:a16="http://schemas.microsoft.com/office/drawing/2014/main" id="{8F55FFAA-D876-4CF0-8977-DB3E71C33801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между компаниями</a:t>
                </a:r>
              </a:p>
            </p:txBody>
          </p:sp>
          <p:sp>
            <p:nvSpPr>
              <p:cNvPr id="383" name="Circle">
                <a:extLst>
                  <a:ext uri="{FF2B5EF4-FFF2-40B4-BE49-F238E27FC236}">
                    <a16:creationId xmlns:a16="http://schemas.microsoft.com/office/drawing/2014/main" id="{065F4A73-F0FA-4A01-ADFE-38B555682C67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74958339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Заголовок">
            <a:extLst>
              <a:ext uri="{FF2B5EF4-FFF2-40B4-BE49-F238E27FC236}">
                <a16:creationId xmlns:a16="http://schemas.microsoft.com/office/drawing/2014/main" id="{2169972C-250D-4463-8C21-BEC6B0F54B60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59" name="Таймлайн">
            <a:extLst>
              <a:ext uri="{FF2B5EF4-FFF2-40B4-BE49-F238E27FC236}">
                <a16:creationId xmlns:a16="http://schemas.microsoft.com/office/drawing/2014/main" id="{DBBB699C-5DA1-41D1-A7BA-83A776EDF441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BF98D8AB-1C11-4350-B95E-443610C080B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>
            <a:extLst>
              <a:ext uri="{FF2B5EF4-FFF2-40B4-BE49-F238E27FC236}">
                <a16:creationId xmlns:a16="http://schemas.microsoft.com/office/drawing/2014/main" id="{8D68390C-DB45-4266-8BF9-C933890A3CF4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7D9C8F97-155C-4492-94DD-2215A5876C13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171C252A-724E-4473-887A-3F76A81E45F8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2048">
            <a:extLst>
              <a:ext uri="{FF2B5EF4-FFF2-40B4-BE49-F238E27FC236}">
                <a16:creationId xmlns:a16="http://schemas.microsoft.com/office/drawing/2014/main" id="{86C53C8B-CA64-4087-9DB7-7C50A797AF4A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167" name="Freeform 23">
              <a:extLst>
                <a:ext uri="{FF2B5EF4-FFF2-40B4-BE49-F238E27FC236}">
                  <a16:creationId xmlns:a16="http://schemas.microsoft.com/office/drawing/2014/main" id="{8E397B99-6CA6-44E1-90C2-464FBD6EF97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68" name="Freeform 24">
              <a:extLst>
                <a:ext uri="{FF2B5EF4-FFF2-40B4-BE49-F238E27FC236}">
                  <a16:creationId xmlns:a16="http://schemas.microsoft.com/office/drawing/2014/main" id="{B29E7778-34E6-411C-8E61-EF7E7D179452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65F99D2-89CE-401F-82C0-BBEC99AF603F}"/>
              </a:ext>
            </a:extLst>
          </p:cNvPr>
          <p:cNvGrpSpPr/>
          <p:nvPr/>
        </p:nvGrpSpPr>
        <p:grpSpPr>
          <a:xfrm>
            <a:off x="630183" y="1923645"/>
            <a:ext cx="3071461" cy="2669461"/>
            <a:chOff x="3785721" y="1717852"/>
            <a:chExt cx="4627594" cy="4021923"/>
          </a:xfrm>
        </p:grpSpPr>
        <p:sp>
          <p:nvSpPr>
            <p:cNvPr id="149" name="Shape_фон">
              <a:extLst>
                <a:ext uri="{FF2B5EF4-FFF2-40B4-BE49-F238E27FC236}">
                  <a16:creationId xmlns:a16="http://schemas.microsoft.com/office/drawing/2014/main" id="{AD9C9007-E932-4F59-ADDF-B5B9D40627E7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8D05103-1E9C-4C0D-8D53-341A5846DFD4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97" name="Shape_фон">
                <a:extLst>
                  <a:ext uri="{FF2B5EF4-FFF2-40B4-BE49-F238E27FC236}">
                    <a16:creationId xmlns:a16="http://schemas.microsoft.com/office/drawing/2014/main" id="{4DEFDE77-596E-454E-A0EC-5D7463F2F03A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4" name="Motion design">
                <a:extLst>
                  <a:ext uri="{FF2B5EF4-FFF2-40B4-BE49-F238E27FC236}">
                    <a16:creationId xmlns:a16="http://schemas.microsoft.com/office/drawing/2014/main" id="{B0E8BB8E-C2B7-45DF-A24A-1695587BCF53}"/>
                  </a:ext>
                </a:extLst>
              </p:cNvPr>
              <p:cNvSpPr txBox="1"/>
              <p:nvPr/>
            </p:nvSpPr>
            <p:spPr>
              <a:xfrm>
                <a:off x="1528519" y="1949249"/>
                <a:ext cx="1645888" cy="81922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4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4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169" name="Группа 168">
              <a:extLst>
                <a:ext uri="{FF2B5EF4-FFF2-40B4-BE49-F238E27FC236}">
                  <a16:creationId xmlns:a16="http://schemas.microsoft.com/office/drawing/2014/main" id="{62D4D211-F8AF-45A7-8FE3-3421101EAE44}"/>
                </a:ext>
              </a:extLst>
            </p:cNvPr>
            <p:cNvGrpSpPr/>
            <p:nvPr/>
          </p:nvGrpSpPr>
          <p:grpSpPr>
            <a:xfrm>
              <a:off x="4011300" y="3028817"/>
              <a:ext cx="2084700" cy="377702"/>
              <a:chOff x="6510195" y="1556711"/>
              <a:chExt cx="4675592" cy="847113"/>
            </a:xfrm>
          </p:grpSpPr>
          <p:sp>
            <p:nvSpPr>
              <p:cNvPr id="170" name="Rounded Rectangle">
                <a:extLst>
                  <a:ext uri="{FF2B5EF4-FFF2-40B4-BE49-F238E27FC236}">
                    <a16:creationId xmlns:a16="http://schemas.microsoft.com/office/drawing/2014/main" id="{B4877D1D-049B-4788-80A5-3847571B5C72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1" name="Motion design">
                <a:extLst>
                  <a:ext uri="{FF2B5EF4-FFF2-40B4-BE49-F238E27FC236}">
                    <a16:creationId xmlns:a16="http://schemas.microsoft.com/office/drawing/2014/main" id="{8102A5B0-7AB5-4377-A9C6-EA59B6CD2C1E}"/>
                  </a:ext>
                </a:extLst>
              </p:cNvPr>
              <p:cNvSpPr txBox="1"/>
              <p:nvPr/>
            </p:nvSpPr>
            <p:spPr>
              <a:xfrm>
                <a:off x="7710251" y="1728241"/>
                <a:ext cx="2841330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Типы</a:t>
                </a: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256B0D1A-EEB0-4294-8120-11D62405F74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BD3C2E60-80AE-408C-96F9-22F16F6D612A}"/>
                </a:ext>
              </a:extLst>
            </p:cNvPr>
            <p:cNvGrpSpPr/>
            <p:nvPr/>
          </p:nvGrpSpPr>
          <p:grpSpPr>
            <a:xfrm>
              <a:off x="4011300" y="3523236"/>
              <a:ext cx="2084700" cy="377702"/>
              <a:chOff x="6510195" y="1556711"/>
              <a:chExt cx="4675592" cy="847113"/>
            </a:xfrm>
          </p:grpSpPr>
          <p:sp>
            <p:nvSpPr>
              <p:cNvPr id="185" name="Rounded Rectangle">
                <a:extLst>
                  <a:ext uri="{FF2B5EF4-FFF2-40B4-BE49-F238E27FC236}">
                    <a16:creationId xmlns:a16="http://schemas.microsoft.com/office/drawing/2014/main" id="{892A4E9A-0EBF-46AD-9F03-7A32B8168E1D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86" name="Motion design">
                <a:extLst>
                  <a:ext uri="{FF2B5EF4-FFF2-40B4-BE49-F238E27FC236}">
                    <a16:creationId xmlns:a16="http://schemas.microsoft.com/office/drawing/2014/main" id="{2BBACE5C-EFB5-40F5-AAAD-054FC800DED7}"/>
                  </a:ext>
                </a:extLst>
              </p:cNvPr>
              <p:cNvSpPr txBox="1"/>
              <p:nvPr/>
            </p:nvSpPr>
            <p:spPr>
              <a:xfrm>
                <a:off x="7986460" y="1711876"/>
                <a:ext cx="233779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оли</a:t>
                </a:r>
              </a:p>
            </p:txBody>
          </p:sp>
          <p:sp>
            <p:nvSpPr>
              <p:cNvPr id="187" name="Circle">
                <a:extLst>
                  <a:ext uri="{FF2B5EF4-FFF2-40B4-BE49-F238E27FC236}">
                    <a16:creationId xmlns:a16="http://schemas.microsoft.com/office/drawing/2014/main" id="{D7F0DD8A-5B2B-4D06-B849-9594F9D4DB0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A3B80160-0870-44A1-B047-E66A4C225E1B}"/>
                </a:ext>
              </a:extLst>
            </p:cNvPr>
            <p:cNvGrpSpPr/>
            <p:nvPr/>
          </p:nvGrpSpPr>
          <p:grpSpPr>
            <a:xfrm>
              <a:off x="6159081" y="3029377"/>
              <a:ext cx="2084700" cy="377702"/>
              <a:chOff x="6510195" y="1556711"/>
              <a:chExt cx="4675592" cy="847113"/>
            </a:xfrm>
          </p:grpSpPr>
          <p:sp>
            <p:nvSpPr>
              <p:cNvPr id="190" name="Rounded Rectangle">
                <a:extLst>
                  <a:ext uri="{FF2B5EF4-FFF2-40B4-BE49-F238E27FC236}">
                    <a16:creationId xmlns:a16="http://schemas.microsoft.com/office/drawing/2014/main" id="{82788542-A448-4792-AB96-CDE00C16554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1" name="Motion design">
                <a:extLst>
                  <a:ext uri="{FF2B5EF4-FFF2-40B4-BE49-F238E27FC236}">
                    <a16:creationId xmlns:a16="http://schemas.microsoft.com/office/drawing/2014/main" id="{1DA6F6C0-7497-4545-8156-8F78FE7EB5A1}"/>
                  </a:ext>
                </a:extLst>
              </p:cNvPr>
              <p:cNvSpPr txBox="1"/>
              <p:nvPr/>
            </p:nvSpPr>
            <p:spPr>
              <a:xfrm>
                <a:off x="7710251" y="1714306"/>
                <a:ext cx="2613490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атегории</a:t>
                </a:r>
              </a:p>
            </p:txBody>
          </p:sp>
          <p:sp>
            <p:nvSpPr>
              <p:cNvPr id="192" name="Circle">
                <a:extLst>
                  <a:ext uri="{FF2B5EF4-FFF2-40B4-BE49-F238E27FC236}">
                    <a16:creationId xmlns:a16="http://schemas.microsoft.com/office/drawing/2014/main" id="{251A4620-CBEA-4FC0-BC66-1B9D2C6028E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94" name="Группа 193">
              <a:extLst>
                <a:ext uri="{FF2B5EF4-FFF2-40B4-BE49-F238E27FC236}">
                  <a16:creationId xmlns:a16="http://schemas.microsoft.com/office/drawing/2014/main" id="{6433C73A-2ABA-4B7F-ADDC-B274EB498B48}"/>
                </a:ext>
              </a:extLst>
            </p:cNvPr>
            <p:cNvGrpSpPr/>
            <p:nvPr/>
          </p:nvGrpSpPr>
          <p:grpSpPr>
            <a:xfrm>
              <a:off x="5066984" y="4064484"/>
              <a:ext cx="2058032" cy="377701"/>
              <a:chOff x="6510195" y="1556711"/>
              <a:chExt cx="4615781" cy="847113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18C5C0AE-B9E1-4BAE-B87E-5C0A858C59E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1578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EE1E4C80-E5AB-4669-B125-8F12A2628026}"/>
                  </a:ext>
                </a:extLst>
              </p:cNvPr>
              <p:cNvSpPr txBox="1"/>
              <p:nvPr/>
            </p:nvSpPr>
            <p:spPr>
              <a:xfrm>
                <a:off x="7824169" y="1725714"/>
                <a:ext cx="261348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бъединения: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E5BF1060-7CB4-4D91-A743-1220E7FBD94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Motion design">
              <a:extLst>
                <a:ext uri="{FF2B5EF4-FFF2-40B4-BE49-F238E27FC236}">
                  <a16:creationId xmlns:a16="http://schemas.microsoft.com/office/drawing/2014/main" id="{AC0AADF2-C2C1-447F-AC69-7B864E5936B8}"/>
                </a:ext>
              </a:extLst>
            </p:cNvPr>
            <p:cNvSpPr txBox="1"/>
            <p:nvPr/>
          </p:nvSpPr>
          <p:spPr>
            <a:xfrm>
              <a:off x="5189820" y="4467767"/>
              <a:ext cx="2102371" cy="94287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Домохозяйства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Клиент экосистемы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Группы компаний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олдинги</a:t>
              </a:r>
            </a:p>
          </p:txBody>
        </p:sp>
        <p:grpSp>
          <p:nvGrpSpPr>
            <p:cNvPr id="201" name="Группа 200">
              <a:extLst>
                <a:ext uri="{FF2B5EF4-FFF2-40B4-BE49-F238E27FC236}">
                  <a16:creationId xmlns:a16="http://schemas.microsoft.com/office/drawing/2014/main" id="{A9FA9035-D573-42BC-8054-3644ABFA7252}"/>
                </a:ext>
              </a:extLst>
            </p:cNvPr>
            <p:cNvGrpSpPr/>
            <p:nvPr/>
          </p:nvGrpSpPr>
          <p:grpSpPr>
            <a:xfrm>
              <a:off x="6159081" y="3523236"/>
              <a:ext cx="2084700" cy="377702"/>
              <a:chOff x="6510195" y="1556711"/>
              <a:chExt cx="4675592" cy="847113"/>
            </a:xfrm>
          </p:grpSpPr>
          <p:sp>
            <p:nvSpPr>
              <p:cNvPr id="202" name="Rounded Rectangle">
                <a:extLst>
                  <a:ext uri="{FF2B5EF4-FFF2-40B4-BE49-F238E27FC236}">
                    <a16:creationId xmlns:a16="http://schemas.microsoft.com/office/drawing/2014/main" id="{ADA06535-0478-4B38-88D4-C52363B0CC5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03" name="Motion design">
                <a:extLst>
                  <a:ext uri="{FF2B5EF4-FFF2-40B4-BE49-F238E27FC236}">
                    <a16:creationId xmlns:a16="http://schemas.microsoft.com/office/drawing/2014/main" id="{A785FC7D-4A0E-404E-AA3E-7AFC6F67265C}"/>
                  </a:ext>
                </a:extLst>
              </p:cNvPr>
              <p:cNvSpPr txBox="1"/>
              <p:nvPr/>
            </p:nvSpPr>
            <p:spPr>
              <a:xfrm>
                <a:off x="7986460" y="1711876"/>
                <a:ext cx="233779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 ФЛ</a:t>
                </a:r>
              </a:p>
            </p:txBody>
          </p:sp>
          <p:sp>
            <p:nvSpPr>
              <p:cNvPr id="204" name="Circle">
                <a:extLst>
                  <a:ext uri="{FF2B5EF4-FFF2-40B4-BE49-F238E27FC236}">
                    <a16:creationId xmlns:a16="http://schemas.microsoft.com/office/drawing/2014/main" id="{425CC785-4A9C-4425-ACA4-A89026CACFF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49E0098-DFE5-4653-BD4D-059E0505C8AC}"/>
              </a:ext>
            </a:extLst>
          </p:cNvPr>
          <p:cNvGrpSpPr/>
          <p:nvPr/>
        </p:nvGrpSpPr>
        <p:grpSpPr>
          <a:xfrm>
            <a:off x="4148214" y="1650455"/>
            <a:ext cx="4631585" cy="4089322"/>
            <a:chOff x="13425889" y="1650455"/>
            <a:chExt cx="4631585" cy="4089322"/>
          </a:xfrm>
        </p:grpSpPr>
        <p:sp>
          <p:nvSpPr>
            <p:cNvPr id="151" name="Shape_фон">
              <a:extLst>
                <a:ext uri="{FF2B5EF4-FFF2-40B4-BE49-F238E27FC236}">
                  <a16:creationId xmlns:a16="http://schemas.microsoft.com/office/drawing/2014/main" id="{97CDAEF1-CDF2-4D3C-BE7B-1577FCA1EDB0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25C7B1C2-3B40-43CA-8B43-8897B76775CA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153" name="Shape_фон">
                <a:extLst>
                  <a:ext uri="{FF2B5EF4-FFF2-40B4-BE49-F238E27FC236}">
                    <a16:creationId xmlns:a16="http://schemas.microsoft.com/office/drawing/2014/main" id="{5BF3B914-48D9-4D36-9BC3-4BE53A94F4CC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6" name="Motion design">
                <a:extLst>
                  <a:ext uri="{FF2B5EF4-FFF2-40B4-BE49-F238E27FC236}">
                    <a16:creationId xmlns:a16="http://schemas.microsoft.com/office/drawing/2014/main" id="{59A87EBE-F7F1-4297-A8EC-D3B444AF6F98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62" name="Группа 261">
              <a:extLst>
                <a:ext uri="{FF2B5EF4-FFF2-40B4-BE49-F238E27FC236}">
                  <a16:creationId xmlns:a16="http://schemas.microsoft.com/office/drawing/2014/main" id="{E41F2E32-5A03-411F-9559-F416E35B7C16}"/>
                </a:ext>
              </a:extLst>
            </p:cNvPr>
            <p:cNvGrpSpPr/>
            <p:nvPr/>
          </p:nvGrpSpPr>
          <p:grpSpPr>
            <a:xfrm>
              <a:off x="13425889" y="2932470"/>
              <a:ext cx="2252360" cy="2098966"/>
              <a:chOff x="3851684" y="2998976"/>
              <a:chExt cx="2252360" cy="2098966"/>
            </a:xfrm>
          </p:grpSpPr>
          <p:grpSp>
            <p:nvGrpSpPr>
              <p:cNvPr id="263" name="Группа 262">
                <a:extLst>
                  <a:ext uri="{FF2B5EF4-FFF2-40B4-BE49-F238E27FC236}">
                    <a16:creationId xmlns:a16="http://schemas.microsoft.com/office/drawing/2014/main" id="{C59A2E92-C7E6-45C4-9906-5F72A4C95440}"/>
                  </a:ext>
                </a:extLst>
              </p:cNvPr>
              <p:cNvGrpSpPr/>
              <p:nvPr/>
            </p:nvGrpSpPr>
            <p:grpSpPr>
              <a:xfrm>
                <a:off x="3851684" y="4720240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4" name="Rounded Rectangle">
                  <a:extLst>
                    <a:ext uri="{FF2B5EF4-FFF2-40B4-BE49-F238E27FC236}">
                      <a16:creationId xmlns:a16="http://schemas.microsoft.com/office/drawing/2014/main" id="{289F0357-23BE-4854-8B0E-B16D5DC751C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5" name="Motion design">
                  <a:extLst>
                    <a:ext uri="{FF2B5EF4-FFF2-40B4-BE49-F238E27FC236}">
                      <a16:creationId xmlns:a16="http://schemas.microsoft.com/office/drawing/2014/main" id="{8FD40365-60AF-402D-8345-A78504C36281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 и услуги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6" name="Circle">
                  <a:extLst>
                    <a:ext uri="{FF2B5EF4-FFF2-40B4-BE49-F238E27FC236}">
                      <a16:creationId xmlns:a16="http://schemas.microsoft.com/office/drawing/2014/main" id="{55556C5C-585D-4965-92DC-EDFFDFFB430D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4" name="Группа 263">
                <a:extLst>
                  <a:ext uri="{FF2B5EF4-FFF2-40B4-BE49-F238E27FC236}">
                    <a16:creationId xmlns:a16="http://schemas.microsoft.com/office/drawing/2014/main" id="{69246239-B145-493D-AD0B-8524F5674A24}"/>
                  </a:ext>
                </a:extLst>
              </p:cNvPr>
              <p:cNvGrpSpPr/>
              <p:nvPr/>
            </p:nvGrpSpPr>
            <p:grpSpPr>
              <a:xfrm>
                <a:off x="3851684" y="4289924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0" name="Rounded Rectangle">
                  <a:extLst>
                    <a:ext uri="{FF2B5EF4-FFF2-40B4-BE49-F238E27FC236}">
                      <a16:creationId xmlns:a16="http://schemas.microsoft.com/office/drawing/2014/main" id="{278193B6-D466-46CA-80C5-FC2A2EA0330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1" name="Motion design">
                  <a:extLst>
                    <a:ext uri="{FF2B5EF4-FFF2-40B4-BE49-F238E27FC236}">
                      <a16:creationId xmlns:a16="http://schemas.microsoft.com/office/drawing/2014/main" id="{03006569-426D-4442-B878-8572B9BBB73E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владения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2" name="Circle">
                  <a:extLst>
                    <a:ext uri="{FF2B5EF4-FFF2-40B4-BE49-F238E27FC236}">
                      <a16:creationId xmlns:a16="http://schemas.microsoft.com/office/drawing/2014/main" id="{3E4CDE55-4FB9-43C7-84E7-9A79F833D3B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5" name="Группа 264">
                <a:extLst>
                  <a:ext uri="{FF2B5EF4-FFF2-40B4-BE49-F238E27FC236}">
                    <a16:creationId xmlns:a16="http://schemas.microsoft.com/office/drawing/2014/main" id="{D419F041-B85C-4B12-9B3B-28BA8D83B870}"/>
                  </a:ext>
                </a:extLst>
              </p:cNvPr>
              <p:cNvGrpSpPr/>
              <p:nvPr/>
            </p:nvGrpSpPr>
            <p:grpSpPr>
              <a:xfrm>
                <a:off x="3851684" y="3859608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6" name="Rounded Rectangle">
                  <a:extLst>
                    <a:ext uri="{FF2B5EF4-FFF2-40B4-BE49-F238E27FC236}">
                      <a16:creationId xmlns:a16="http://schemas.microsoft.com/office/drawing/2014/main" id="{42333950-A6EE-4837-A25E-63C37DA2E513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7" name="Motion design">
                  <a:extLst>
                    <a:ext uri="{FF2B5EF4-FFF2-40B4-BE49-F238E27FC236}">
                      <a16:creationId xmlns:a16="http://schemas.microsoft.com/office/drawing/2014/main" id="{4EBE1E0E-7282-4D8E-9780-D64CB9732650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8" name="Circle">
                  <a:extLst>
                    <a:ext uri="{FF2B5EF4-FFF2-40B4-BE49-F238E27FC236}">
                      <a16:creationId xmlns:a16="http://schemas.microsoft.com/office/drawing/2014/main" id="{CA3FECCD-53B7-4CAF-9096-0190232E84E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6" name="Группа 265">
                <a:extLst>
                  <a:ext uri="{FF2B5EF4-FFF2-40B4-BE49-F238E27FC236}">
                    <a16:creationId xmlns:a16="http://schemas.microsoft.com/office/drawing/2014/main" id="{EAD3F4A6-D0B4-4C46-AC84-296F1B972707}"/>
                  </a:ext>
                </a:extLst>
              </p:cNvPr>
              <p:cNvGrpSpPr/>
              <p:nvPr/>
            </p:nvGrpSpPr>
            <p:grpSpPr>
              <a:xfrm>
                <a:off x="3851684" y="3429292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2" name="Rounded Rectangle">
                  <a:extLst>
                    <a:ext uri="{FF2B5EF4-FFF2-40B4-BE49-F238E27FC236}">
                      <a16:creationId xmlns:a16="http://schemas.microsoft.com/office/drawing/2014/main" id="{F20B754D-5359-49BC-80FE-844B4DBF3455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3" name="Motion design">
                  <a:extLst>
                    <a:ext uri="{FF2B5EF4-FFF2-40B4-BE49-F238E27FC236}">
                      <a16:creationId xmlns:a16="http://schemas.microsoft.com/office/drawing/2014/main" id="{6597A7C0-2859-45CD-AE34-CE494436497A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4" name="Circle">
                  <a:extLst>
                    <a:ext uri="{FF2B5EF4-FFF2-40B4-BE49-F238E27FC236}">
                      <a16:creationId xmlns:a16="http://schemas.microsoft.com/office/drawing/2014/main" id="{DEA63950-9723-430A-AB48-2E40D09216BC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7" name="Группа 266">
                <a:extLst>
                  <a:ext uri="{FF2B5EF4-FFF2-40B4-BE49-F238E27FC236}">
                    <a16:creationId xmlns:a16="http://schemas.microsoft.com/office/drawing/2014/main" id="{4A8898E9-83AE-42FB-B9AB-A8D93134FEC6}"/>
                  </a:ext>
                </a:extLst>
              </p:cNvPr>
              <p:cNvGrpSpPr/>
              <p:nvPr/>
            </p:nvGrpSpPr>
            <p:grpSpPr>
              <a:xfrm>
                <a:off x="3851684" y="2998976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68" name="Rounded Rectangle">
                  <a:extLst>
                    <a:ext uri="{FF2B5EF4-FFF2-40B4-BE49-F238E27FC236}">
                      <a16:creationId xmlns:a16="http://schemas.microsoft.com/office/drawing/2014/main" id="{B5CD6FAC-12E5-4E07-87C2-2F3BE21CD42E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9" name="Motion design">
                  <a:extLst>
                    <a:ext uri="{FF2B5EF4-FFF2-40B4-BE49-F238E27FC236}">
                      <a16:creationId xmlns:a16="http://schemas.microsoft.com/office/drawing/2014/main" id="{E6244FB0-4942-42A7-93AB-8B8479006C95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3691419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2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0" name="Circle">
                  <a:extLst>
                    <a:ext uri="{FF2B5EF4-FFF2-40B4-BE49-F238E27FC236}">
                      <a16:creationId xmlns:a16="http://schemas.microsoft.com/office/drawing/2014/main" id="{3AD9BBFF-E781-4333-A050-88C49E0B6A7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8" name="Группа 287">
              <a:extLst>
                <a:ext uri="{FF2B5EF4-FFF2-40B4-BE49-F238E27FC236}">
                  <a16:creationId xmlns:a16="http://schemas.microsoft.com/office/drawing/2014/main" id="{EA052F31-1E61-44AF-9CA5-5736A56FDD3E}"/>
                </a:ext>
              </a:extLst>
            </p:cNvPr>
            <p:cNvGrpSpPr/>
            <p:nvPr/>
          </p:nvGrpSpPr>
          <p:grpSpPr>
            <a:xfrm>
              <a:off x="15743677" y="5084050"/>
              <a:ext cx="2252360" cy="377702"/>
              <a:chOff x="6510195" y="1556711"/>
              <a:chExt cx="5051622" cy="847113"/>
            </a:xfrm>
          </p:grpSpPr>
          <p:sp>
            <p:nvSpPr>
              <p:cNvPr id="289" name="Rounded Rectangle">
                <a:extLst>
                  <a:ext uri="{FF2B5EF4-FFF2-40B4-BE49-F238E27FC236}">
                    <a16:creationId xmlns:a16="http://schemas.microsoft.com/office/drawing/2014/main" id="{07813257-800A-4E49-B66A-F253442510D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0" name="Motion design">
                <a:extLst>
                  <a:ext uri="{FF2B5EF4-FFF2-40B4-BE49-F238E27FC236}">
                    <a16:creationId xmlns:a16="http://schemas.microsoft.com/office/drawing/2014/main" id="{BD6F00DA-3014-4BC0-819C-AC52BD6DA427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нкета ПОД/ФТ</a:t>
                </a:r>
              </a:p>
            </p:txBody>
          </p:sp>
          <p:sp>
            <p:nvSpPr>
              <p:cNvPr id="291" name="Circle">
                <a:extLst>
                  <a:ext uri="{FF2B5EF4-FFF2-40B4-BE49-F238E27FC236}">
                    <a16:creationId xmlns:a16="http://schemas.microsoft.com/office/drawing/2014/main" id="{4D0A0499-6BFC-44E2-BE46-9428358CD094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3" name="Группа 292">
              <a:extLst>
                <a:ext uri="{FF2B5EF4-FFF2-40B4-BE49-F238E27FC236}">
                  <a16:creationId xmlns:a16="http://schemas.microsoft.com/office/drawing/2014/main" id="{25C90126-C469-4BA5-BE70-E86D99DB19D6}"/>
                </a:ext>
              </a:extLst>
            </p:cNvPr>
            <p:cNvGrpSpPr/>
            <p:nvPr/>
          </p:nvGrpSpPr>
          <p:grpSpPr>
            <a:xfrm>
              <a:off x="15743677" y="4653734"/>
              <a:ext cx="2252360" cy="377702"/>
              <a:chOff x="6510195" y="1556711"/>
              <a:chExt cx="5051622" cy="847113"/>
            </a:xfrm>
          </p:grpSpPr>
          <p:sp>
            <p:nvSpPr>
              <p:cNvPr id="294" name="Rounded Rectangle">
                <a:extLst>
                  <a:ext uri="{FF2B5EF4-FFF2-40B4-BE49-F238E27FC236}">
                    <a16:creationId xmlns:a16="http://schemas.microsoft.com/office/drawing/2014/main" id="{2B0996F8-51FD-4272-BEDD-E19C692CF635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5" name="Motion design">
                <a:extLst>
                  <a:ext uri="{FF2B5EF4-FFF2-40B4-BE49-F238E27FC236}">
                    <a16:creationId xmlns:a16="http://schemas.microsoft.com/office/drawing/2014/main" id="{A8FF7ECB-89AF-43B5-8BA4-050458623D2B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трибуты связей</a:t>
                </a:r>
              </a:p>
            </p:txBody>
          </p:sp>
          <p:sp>
            <p:nvSpPr>
              <p:cNvPr id="296" name="Circle">
                <a:extLst>
                  <a:ext uri="{FF2B5EF4-FFF2-40B4-BE49-F238E27FC236}">
                    <a16:creationId xmlns:a16="http://schemas.microsoft.com/office/drawing/2014/main" id="{C6A41059-A605-4F94-B47F-E630074BDABC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8" name="Группа 297">
              <a:extLst>
                <a:ext uri="{FF2B5EF4-FFF2-40B4-BE49-F238E27FC236}">
                  <a16:creationId xmlns:a16="http://schemas.microsoft.com/office/drawing/2014/main" id="{42D1BF5E-5F4F-4E29-AAD6-8AE9F1FABC3E}"/>
                </a:ext>
              </a:extLst>
            </p:cNvPr>
            <p:cNvGrpSpPr/>
            <p:nvPr/>
          </p:nvGrpSpPr>
          <p:grpSpPr>
            <a:xfrm>
              <a:off x="15743677" y="4223418"/>
              <a:ext cx="2252360" cy="377702"/>
              <a:chOff x="6510195" y="1556711"/>
              <a:chExt cx="5051622" cy="847113"/>
            </a:xfrm>
          </p:grpSpPr>
          <p:sp>
            <p:nvSpPr>
              <p:cNvPr id="299" name="Rounded Rectangle">
                <a:extLst>
                  <a:ext uri="{FF2B5EF4-FFF2-40B4-BE49-F238E27FC236}">
                    <a16:creationId xmlns:a16="http://schemas.microsoft.com/office/drawing/2014/main" id="{6F317413-EDCB-4881-8B34-A2BDAA7B1F1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0" name="Motion design">
                <a:extLst>
                  <a:ext uri="{FF2B5EF4-FFF2-40B4-BE49-F238E27FC236}">
                    <a16:creationId xmlns:a16="http://schemas.microsoft.com/office/drawing/2014/main" id="{23081F63-AD2E-49F4-B9D7-655384ED0E4F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Фин. показатели</a:t>
                </a:r>
              </a:p>
            </p:txBody>
          </p:sp>
          <p:sp>
            <p:nvSpPr>
              <p:cNvPr id="301" name="Circle">
                <a:extLst>
                  <a:ext uri="{FF2B5EF4-FFF2-40B4-BE49-F238E27FC236}">
                    <a16:creationId xmlns:a16="http://schemas.microsoft.com/office/drawing/2014/main" id="{40A7E7E2-7DCB-4AA0-B7A8-07CC36E61A1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3" name="Группа 302">
              <a:extLst>
                <a:ext uri="{FF2B5EF4-FFF2-40B4-BE49-F238E27FC236}">
                  <a16:creationId xmlns:a16="http://schemas.microsoft.com/office/drawing/2014/main" id="{DCAF59F3-3AE1-4ADD-BCFF-92E1A924FC97}"/>
                </a:ext>
              </a:extLst>
            </p:cNvPr>
            <p:cNvGrpSpPr/>
            <p:nvPr/>
          </p:nvGrpSpPr>
          <p:grpSpPr>
            <a:xfrm>
              <a:off x="15743677" y="3793102"/>
              <a:ext cx="2252360" cy="377702"/>
              <a:chOff x="6510195" y="1556711"/>
              <a:chExt cx="5051622" cy="847113"/>
            </a:xfrm>
          </p:grpSpPr>
          <p:sp>
            <p:nvSpPr>
              <p:cNvPr id="304" name="Rounded Rectangle">
                <a:extLst>
                  <a:ext uri="{FF2B5EF4-FFF2-40B4-BE49-F238E27FC236}">
                    <a16:creationId xmlns:a16="http://schemas.microsoft.com/office/drawing/2014/main" id="{F20ABDC3-E367-4DAE-8FAD-DB2DE342B7D9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5" name="Motion design">
                <a:extLst>
                  <a:ext uri="{FF2B5EF4-FFF2-40B4-BE49-F238E27FC236}">
                    <a16:creationId xmlns:a16="http://schemas.microsoft.com/office/drawing/2014/main" id="{A18A400D-3F43-4142-95B3-86BAC54E7DCA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Коммуникации</a:t>
                </a:r>
                <a:endPara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306" name="Circle">
                <a:extLst>
                  <a:ext uri="{FF2B5EF4-FFF2-40B4-BE49-F238E27FC236}">
                    <a16:creationId xmlns:a16="http://schemas.microsoft.com/office/drawing/2014/main" id="{0157086B-5431-4945-B358-AE710E8D555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8" name="Группа 307">
              <a:extLst>
                <a:ext uri="{FF2B5EF4-FFF2-40B4-BE49-F238E27FC236}">
                  <a16:creationId xmlns:a16="http://schemas.microsoft.com/office/drawing/2014/main" id="{EED2E0EE-B3F9-4D96-AE81-FA3F27B2DFBD}"/>
                </a:ext>
              </a:extLst>
            </p:cNvPr>
            <p:cNvGrpSpPr/>
            <p:nvPr/>
          </p:nvGrpSpPr>
          <p:grpSpPr>
            <a:xfrm>
              <a:off x="15743677" y="3362786"/>
              <a:ext cx="2252360" cy="377702"/>
              <a:chOff x="6510195" y="1556711"/>
              <a:chExt cx="5051622" cy="847113"/>
            </a:xfrm>
          </p:grpSpPr>
          <p:sp>
            <p:nvSpPr>
              <p:cNvPr id="309" name="Rounded Rectangle">
                <a:extLst>
                  <a:ext uri="{FF2B5EF4-FFF2-40B4-BE49-F238E27FC236}">
                    <a16:creationId xmlns:a16="http://schemas.microsoft.com/office/drawing/2014/main" id="{BE14154B-7158-4F97-B4E9-154C76DF8AF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0" name="Motion design">
                <a:extLst>
                  <a:ext uri="{FF2B5EF4-FFF2-40B4-BE49-F238E27FC236}">
                    <a16:creationId xmlns:a16="http://schemas.microsoft.com/office/drawing/2014/main" id="{B688A0B8-EE9C-4CB6-B68F-B7F14DD8400D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Сессии, </a:t>
                </a:r>
                <a:r>
                  <a:rPr lang="en-US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ookie</a:t>
                </a:r>
              </a:p>
            </p:txBody>
          </p:sp>
          <p:sp>
            <p:nvSpPr>
              <p:cNvPr id="311" name="Circle">
                <a:extLst>
                  <a:ext uri="{FF2B5EF4-FFF2-40B4-BE49-F238E27FC236}">
                    <a16:creationId xmlns:a16="http://schemas.microsoft.com/office/drawing/2014/main" id="{16308C5B-3AA7-488A-9573-1028CC69784B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13" name="Группа 312">
              <a:extLst>
                <a:ext uri="{FF2B5EF4-FFF2-40B4-BE49-F238E27FC236}">
                  <a16:creationId xmlns:a16="http://schemas.microsoft.com/office/drawing/2014/main" id="{1D7A8E20-52F0-4511-8FCB-CD7027382CC8}"/>
                </a:ext>
              </a:extLst>
            </p:cNvPr>
            <p:cNvGrpSpPr/>
            <p:nvPr/>
          </p:nvGrpSpPr>
          <p:grpSpPr>
            <a:xfrm>
              <a:off x="15743677" y="2932470"/>
              <a:ext cx="2252360" cy="377702"/>
              <a:chOff x="6510195" y="1556711"/>
              <a:chExt cx="5051622" cy="847113"/>
            </a:xfrm>
          </p:grpSpPr>
          <p:sp>
            <p:nvSpPr>
              <p:cNvPr id="314" name="Rounded Rectangle">
                <a:extLst>
                  <a:ext uri="{FF2B5EF4-FFF2-40B4-BE49-F238E27FC236}">
                    <a16:creationId xmlns:a16="http://schemas.microsoft.com/office/drawing/2014/main" id="{E1E10827-5611-40A3-8C2B-30094B7D37B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5" name="Motion design">
                <a:extLst>
                  <a:ext uri="{FF2B5EF4-FFF2-40B4-BE49-F238E27FC236}">
                    <a16:creationId xmlns:a16="http://schemas.microsoft.com/office/drawing/2014/main" id="{5B37F1AF-E47B-487A-A596-EDDC7C1BE77B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691419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2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Устройства </a:t>
                </a:r>
              </a:p>
            </p:txBody>
          </p:sp>
          <p:sp>
            <p:nvSpPr>
              <p:cNvPr id="316" name="Circle">
                <a:extLst>
                  <a:ext uri="{FF2B5EF4-FFF2-40B4-BE49-F238E27FC236}">
                    <a16:creationId xmlns:a16="http://schemas.microsoft.com/office/drawing/2014/main" id="{2EE67615-E0F1-459C-8B41-E2F2D368E03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6AF7201-AD0E-4A6D-BDC0-37CC6B7CCB04}"/>
              </a:ext>
            </a:extLst>
          </p:cNvPr>
          <p:cNvGrpSpPr/>
          <p:nvPr/>
        </p:nvGrpSpPr>
        <p:grpSpPr>
          <a:xfrm>
            <a:off x="13013690" y="1650455"/>
            <a:ext cx="4627594" cy="4089322"/>
            <a:chOff x="18509319" y="1650455"/>
            <a:chExt cx="4627594" cy="4089322"/>
          </a:xfrm>
        </p:grpSpPr>
        <p:sp>
          <p:nvSpPr>
            <p:cNvPr id="319" name="Shape_фон">
              <a:extLst>
                <a:ext uri="{FF2B5EF4-FFF2-40B4-BE49-F238E27FC236}">
                  <a16:creationId xmlns:a16="http://schemas.microsoft.com/office/drawing/2014/main" id="{45EBD626-779E-47D0-9A1F-0A7B9F2BC212}"/>
                </a:ext>
              </a:extLst>
            </p:cNvPr>
            <p:cNvSpPr/>
            <p:nvPr/>
          </p:nvSpPr>
          <p:spPr>
            <a:xfrm>
              <a:off x="18509319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320" name="Группа 319">
              <a:extLst>
                <a:ext uri="{FF2B5EF4-FFF2-40B4-BE49-F238E27FC236}">
                  <a16:creationId xmlns:a16="http://schemas.microsoft.com/office/drawing/2014/main" id="{CE572A51-9FB7-463D-B00B-E42F5D9724B4}"/>
                </a:ext>
              </a:extLst>
            </p:cNvPr>
            <p:cNvGrpSpPr/>
            <p:nvPr/>
          </p:nvGrpSpPr>
          <p:grpSpPr>
            <a:xfrm>
              <a:off x="19696936" y="1650455"/>
              <a:ext cx="2252360" cy="1143115"/>
              <a:chOff x="8681847" y="1717853"/>
              <a:chExt cx="2252360" cy="1143115"/>
            </a:xfrm>
          </p:grpSpPr>
          <p:sp>
            <p:nvSpPr>
              <p:cNvPr id="347" name="Shape_фон">
                <a:extLst>
                  <a:ext uri="{FF2B5EF4-FFF2-40B4-BE49-F238E27FC236}">
                    <a16:creationId xmlns:a16="http://schemas.microsoft.com/office/drawing/2014/main" id="{735E52EA-1EC8-4AC6-8EEE-0A1E2724B70C}"/>
                  </a:ext>
                </a:extLst>
              </p:cNvPr>
              <p:cNvSpPr/>
              <p:nvPr/>
            </p:nvSpPr>
            <p:spPr>
              <a:xfrm>
                <a:off x="8681847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>
                  <a:defRPr/>
                </a:pPr>
                <a:endPara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48" name="Motion design">
                <a:extLst>
                  <a:ext uri="{FF2B5EF4-FFF2-40B4-BE49-F238E27FC236}">
                    <a16:creationId xmlns:a16="http://schemas.microsoft.com/office/drawing/2014/main" id="{2DC44947-AD84-46BB-A2DD-CA8C59E8D3F5}"/>
                  </a:ext>
                </a:extLst>
              </p:cNvPr>
              <p:cNvSpPr txBox="1"/>
              <p:nvPr/>
            </p:nvSpPr>
            <p:spPr>
              <a:xfrm>
                <a:off x="8985083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I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ntegration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350" name="Группа 349">
              <a:extLst>
                <a:ext uri="{FF2B5EF4-FFF2-40B4-BE49-F238E27FC236}">
                  <a16:creationId xmlns:a16="http://schemas.microsoft.com/office/drawing/2014/main" id="{237A98B4-8C73-4612-9A3A-89E960745EFE}"/>
                </a:ext>
              </a:extLst>
            </p:cNvPr>
            <p:cNvGrpSpPr/>
            <p:nvPr/>
          </p:nvGrpSpPr>
          <p:grpSpPr>
            <a:xfrm>
              <a:off x="18578246" y="2946251"/>
              <a:ext cx="2203178" cy="377702"/>
              <a:chOff x="6510195" y="1556711"/>
              <a:chExt cx="4941315" cy="847113"/>
            </a:xfrm>
          </p:grpSpPr>
          <p:sp>
            <p:nvSpPr>
              <p:cNvPr id="356" name="Rounded Rectangle">
                <a:extLst>
                  <a:ext uri="{FF2B5EF4-FFF2-40B4-BE49-F238E27FC236}">
                    <a16:creationId xmlns:a16="http://schemas.microsoft.com/office/drawing/2014/main" id="{96F43E0C-E9AD-4B44-86EA-BFCC8E2AED9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5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7" name="Motion design">
                <a:extLst>
                  <a:ext uri="{FF2B5EF4-FFF2-40B4-BE49-F238E27FC236}">
                    <a16:creationId xmlns:a16="http://schemas.microsoft.com/office/drawing/2014/main" id="{D4206B10-A86D-4CB5-98D4-05CAA3791F57}"/>
                  </a:ext>
                </a:extLst>
              </p:cNvPr>
              <p:cNvSpPr txBox="1"/>
              <p:nvPr/>
            </p:nvSpPr>
            <p:spPr>
              <a:xfrm>
                <a:off x="7501218" y="1748637"/>
                <a:ext cx="3273109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акет, </a:t>
                </a:r>
                <a:r>
                  <a:rPr lang="en-US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OAP, JMS</a:t>
                </a:r>
              </a:p>
            </p:txBody>
          </p:sp>
          <p:sp>
            <p:nvSpPr>
              <p:cNvPr id="358" name="Circle">
                <a:extLst>
                  <a:ext uri="{FF2B5EF4-FFF2-40B4-BE49-F238E27FC236}">
                    <a16:creationId xmlns:a16="http://schemas.microsoft.com/office/drawing/2014/main" id="{82B78E9B-4C28-424A-AB13-13D9E996841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51" name="Группа 350">
              <a:extLst>
                <a:ext uri="{FF2B5EF4-FFF2-40B4-BE49-F238E27FC236}">
                  <a16:creationId xmlns:a16="http://schemas.microsoft.com/office/drawing/2014/main" id="{0AE5510D-E497-4942-A2C9-212770DF009A}"/>
                </a:ext>
              </a:extLst>
            </p:cNvPr>
            <p:cNvGrpSpPr/>
            <p:nvPr/>
          </p:nvGrpSpPr>
          <p:grpSpPr>
            <a:xfrm>
              <a:off x="18578246" y="3417126"/>
              <a:ext cx="2203177" cy="377702"/>
              <a:chOff x="6510195" y="1556711"/>
              <a:chExt cx="4941313" cy="847113"/>
            </a:xfrm>
          </p:grpSpPr>
          <p:sp>
            <p:nvSpPr>
              <p:cNvPr id="352" name="Rounded Rectangle">
                <a:extLst>
                  <a:ext uri="{FF2B5EF4-FFF2-40B4-BE49-F238E27FC236}">
                    <a16:creationId xmlns:a16="http://schemas.microsoft.com/office/drawing/2014/main" id="{8426E8C8-B852-4C6A-9344-60952F52F9C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3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3" name="Motion design">
                <a:extLst>
                  <a:ext uri="{FF2B5EF4-FFF2-40B4-BE49-F238E27FC236}">
                    <a16:creationId xmlns:a16="http://schemas.microsoft.com/office/drawing/2014/main" id="{49CCBC94-A573-4D7E-8E3B-F0FEC030BEFC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327310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нешние источники </a:t>
                </a:r>
                <a:endParaRPr lang="en-US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54" name="Circle">
                <a:extLst>
                  <a:ext uri="{FF2B5EF4-FFF2-40B4-BE49-F238E27FC236}">
                    <a16:creationId xmlns:a16="http://schemas.microsoft.com/office/drawing/2014/main" id="{D72D4B6D-4B24-4259-ADFF-D928F7ECC0A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0" name="Группа 359">
              <a:extLst>
                <a:ext uri="{FF2B5EF4-FFF2-40B4-BE49-F238E27FC236}">
                  <a16:creationId xmlns:a16="http://schemas.microsoft.com/office/drawing/2014/main" id="{328E7CCF-5BFA-4CB0-8D4F-CEC53FDF6791}"/>
                </a:ext>
              </a:extLst>
            </p:cNvPr>
            <p:cNvGrpSpPr/>
            <p:nvPr/>
          </p:nvGrpSpPr>
          <p:grpSpPr>
            <a:xfrm>
              <a:off x="18578246" y="3888001"/>
              <a:ext cx="2203176" cy="410563"/>
              <a:chOff x="6510195" y="1483010"/>
              <a:chExt cx="4941311" cy="920814"/>
            </a:xfrm>
          </p:grpSpPr>
          <p:sp>
            <p:nvSpPr>
              <p:cNvPr id="361" name="Rounded Rectangle">
                <a:extLst>
                  <a:ext uri="{FF2B5EF4-FFF2-40B4-BE49-F238E27FC236}">
                    <a16:creationId xmlns:a16="http://schemas.microsoft.com/office/drawing/2014/main" id="{C6554C3E-D93B-43EE-BDB1-FEC8714096E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2" name="Motion design">
                <a:extLst>
                  <a:ext uri="{FF2B5EF4-FFF2-40B4-BE49-F238E27FC236}">
                    <a16:creationId xmlns:a16="http://schemas.microsoft.com/office/drawing/2014/main" id="{80178749-82BD-40A9-85C1-0EAE033F5B6F}"/>
                  </a:ext>
                </a:extLst>
              </p:cNvPr>
              <p:cNvSpPr txBox="1"/>
              <p:nvPr/>
            </p:nvSpPr>
            <p:spPr>
              <a:xfrm>
                <a:off x="7434557" y="1483010"/>
                <a:ext cx="327310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нфигуратор событий</a:t>
                </a:r>
                <a:b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ратного потока</a:t>
                </a:r>
              </a:p>
            </p:txBody>
          </p:sp>
          <p:sp>
            <p:nvSpPr>
              <p:cNvPr id="363" name="Circle">
                <a:extLst>
                  <a:ext uri="{FF2B5EF4-FFF2-40B4-BE49-F238E27FC236}">
                    <a16:creationId xmlns:a16="http://schemas.microsoft.com/office/drawing/2014/main" id="{BC517774-2536-49EC-808F-384A59D7DF6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5" name="Группа 364">
              <a:extLst>
                <a:ext uri="{FF2B5EF4-FFF2-40B4-BE49-F238E27FC236}">
                  <a16:creationId xmlns:a16="http://schemas.microsoft.com/office/drawing/2014/main" id="{0EA910EE-5A92-4FBA-B481-15B765E60C6A}"/>
                </a:ext>
              </a:extLst>
            </p:cNvPr>
            <p:cNvGrpSpPr/>
            <p:nvPr/>
          </p:nvGrpSpPr>
          <p:grpSpPr>
            <a:xfrm>
              <a:off x="20855624" y="2946251"/>
              <a:ext cx="2203175" cy="377702"/>
              <a:chOff x="6510195" y="1556711"/>
              <a:chExt cx="4941309" cy="847113"/>
            </a:xfrm>
          </p:grpSpPr>
          <p:sp>
            <p:nvSpPr>
              <p:cNvPr id="366" name="Rounded Rectangle">
                <a:extLst>
                  <a:ext uri="{FF2B5EF4-FFF2-40B4-BE49-F238E27FC236}">
                    <a16:creationId xmlns:a16="http://schemas.microsoft.com/office/drawing/2014/main" id="{3F312BF2-7D70-4CFD-B639-CFD58660B578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7" name="Motion design">
                <a:extLst>
                  <a:ext uri="{FF2B5EF4-FFF2-40B4-BE49-F238E27FC236}">
                    <a16:creationId xmlns:a16="http://schemas.microsoft.com/office/drawing/2014/main" id="{254F5EFE-8A55-43C4-B6A4-076FEFEE7432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атастрофоустойчивость</a:t>
                </a:r>
                <a:endParaRPr lang="ru-RU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68" name="Circle">
                <a:extLst>
                  <a:ext uri="{FF2B5EF4-FFF2-40B4-BE49-F238E27FC236}">
                    <a16:creationId xmlns:a16="http://schemas.microsoft.com/office/drawing/2014/main" id="{D9EF932D-2ED3-4098-91C3-161186A21C3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0" name="Группа 369">
              <a:extLst>
                <a:ext uri="{FF2B5EF4-FFF2-40B4-BE49-F238E27FC236}">
                  <a16:creationId xmlns:a16="http://schemas.microsoft.com/office/drawing/2014/main" id="{B4260DB8-6BD2-426E-8349-36F31E084E34}"/>
                </a:ext>
              </a:extLst>
            </p:cNvPr>
            <p:cNvGrpSpPr/>
            <p:nvPr/>
          </p:nvGrpSpPr>
          <p:grpSpPr>
            <a:xfrm>
              <a:off x="20855623" y="3413469"/>
              <a:ext cx="2203175" cy="417111"/>
              <a:chOff x="6510195" y="1468324"/>
              <a:chExt cx="4941309" cy="935500"/>
            </a:xfrm>
          </p:grpSpPr>
          <p:sp>
            <p:nvSpPr>
              <p:cNvPr id="371" name="Rounded Rectangle">
                <a:extLst>
                  <a:ext uri="{FF2B5EF4-FFF2-40B4-BE49-F238E27FC236}">
                    <a16:creationId xmlns:a16="http://schemas.microsoft.com/office/drawing/2014/main" id="{816C08C8-4224-43E5-AD58-17EC657AEEE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2" name="Motion design">
                <a:extLst>
                  <a:ext uri="{FF2B5EF4-FFF2-40B4-BE49-F238E27FC236}">
                    <a16:creationId xmlns:a16="http://schemas.microsoft.com/office/drawing/2014/main" id="{542287C3-CD71-4350-8BD6-CAC28C234816}"/>
                  </a:ext>
                </a:extLst>
              </p:cNvPr>
              <p:cNvSpPr txBox="1"/>
              <p:nvPr/>
            </p:nvSpPr>
            <p:spPr>
              <a:xfrm>
                <a:off x="7434557" y="1468324"/>
                <a:ext cx="401694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пределенные вычисления</a:t>
                </a:r>
              </a:p>
            </p:txBody>
          </p:sp>
          <p:sp>
            <p:nvSpPr>
              <p:cNvPr id="373" name="Circle">
                <a:extLst>
                  <a:ext uri="{FF2B5EF4-FFF2-40B4-BE49-F238E27FC236}">
                    <a16:creationId xmlns:a16="http://schemas.microsoft.com/office/drawing/2014/main" id="{0F160C5E-6E58-42E0-8DEB-AC8FDB4C6D2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5" name="Группа 374">
              <a:extLst>
                <a:ext uri="{FF2B5EF4-FFF2-40B4-BE49-F238E27FC236}">
                  <a16:creationId xmlns:a16="http://schemas.microsoft.com/office/drawing/2014/main" id="{CD877F1C-083F-47E7-8E8C-70D5E937F719}"/>
                </a:ext>
              </a:extLst>
            </p:cNvPr>
            <p:cNvGrpSpPr/>
            <p:nvPr/>
          </p:nvGrpSpPr>
          <p:grpSpPr>
            <a:xfrm>
              <a:off x="20855623" y="3920096"/>
              <a:ext cx="2203175" cy="377702"/>
              <a:chOff x="6510195" y="1556711"/>
              <a:chExt cx="4941309" cy="847113"/>
            </a:xfrm>
          </p:grpSpPr>
          <p:sp>
            <p:nvSpPr>
              <p:cNvPr id="376" name="Rounded Rectangle">
                <a:extLst>
                  <a:ext uri="{FF2B5EF4-FFF2-40B4-BE49-F238E27FC236}">
                    <a16:creationId xmlns:a16="http://schemas.microsoft.com/office/drawing/2014/main" id="{B197909D-86CE-4776-B439-FA8092D64C4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7" name="Motion design">
                <a:extLst>
                  <a:ext uri="{FF2B5EF4-FFF2-40B4-BE49-F238E27FC236}">
                    <a16:creationId xmlns:a16="http://schemas.microsoft.com/office/drawing/2014/main" id="{4C989649-0585-463F-BAFF-76C260C7DE59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внутри экосистемы</a:t>
                </a:r>
              </a:p>
            </p:txBody>
          </p:sp>
          <p:sp>
            <p:nvSpPr>
              <p:cNvPr id="378" name="Circle">
                <a:extLst>
                  <a:ext uri="{FF2B5EF4-FFF2-40B4-BE49-F238E27FC236}">
                    <a16:creationId xmlns:a16="http://schemas.microsoft.com/office/drawing/2014/main" id="{9F2F0D6E-1BD5-43FD-B322-98AA56CCA932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80" name="Группа 379">
              <a:extLst>
                <a:ext uri="{FF2B5EF4-FFF2-40B4-BE49-F238E27FC236}">
                  <a16:creationId xmlns:a16="http://schemas.microsoft.com/office/drawing/2014/main" id="{165E1C6D-5168-4FAA-8105-FEB630DE5FA1}"/>
                </a:ext>
              </a:extLst>
            </p:cNvPr>
            <p:cNvGrpSpPr/>
            <p:nvPr/>
          </p:nvGrpSpPr>
          <p:grpSpPr>
            <a:xfrm>
              <a:off x="20855623" y="4387314"/>
              <a:ext cx="2203175" cy="377702"/>
              <a:chOff x="6510195" y="1556711"/>
              <a:chExt cx="4941309" cy="847113"/>
            </a:xfrm>
          </p:grpSpPr>
          <p:sp>
            <p:nvSpPr>
              <p:cNvPr id="381" name="Rounded Rectangle">
                <a:extLst>
                  <a:ext uri="{FF2B5EF4-FFF2-40B4-BE49-F238E27FC236}">
                    <a16:creationId xmlns:a16="http://schemas.microsoft.com/office/drawing/2014/main" id="{C8720C13-3663-4B3D-A8E2-C2393C3F873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82" name="Motion design">
                <a:extLst>
                  <a:ext uri="{FF2B5EF4-FFF2-40B4-BE49-F238E27FC236}">
                    <a16:creationId xmlns:a16="http://schemas.microsoft.com/office/drawing/2014/main" id="{8F55FFAA-D876-4CF0-8977-DB3E71C33801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между компаниями</a:t>
                </a:r>
              </a:p>
            </p:txBody>
          </p:sp>
          <p:sp>
            <p:nvSpPr>
              <p:cNvPr id="383" name="Circle">
                <a:extLst>
                  <a:ext uri="{FF2B5EF4-FFF2-40B4-BE49-F238E27FC236}">
                    <a16:creationId xmlns:a16="http://schemas.microsoft.com/office/drawing/2014/main" id="{065F4A73-F0FA-4A01-ADFE-38B555682C67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538558275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8" name="Заголовок">
            <a:extLst>
              <a:ext uri="{FF2B5EF4-FFF2-40B4-BE49-F238E27FC236}">
                <a16:creationId xmlns:a16="http://schemas.microsoft.com/office/drawing/2014/main" id="{2169972C-250D-4463-8C21-BEC6B0F54B60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59" name="Таймлайн">
            <a:extLst>
              <a:ext uri="{FF2B5EF4-FFF2-40B4-BE49-F238E27FC236}">
                <a16:creationId xmlns:a16="http://schemas.microsoft.com/office/drawing/2014/main" id="{DBBB699C-5DA1-41D1-A7BA-83A776EDF441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BF98D8AB-1C11-4350-B95E-443610C080B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>
            <a:extLst>
              <a:ext uri="{FF2B5EF4-FFF2-40B4-BE49-F238E27FC236}">
                <a16:creationId xmlns:a16="http://schemas.microsoft.com/office/drawing/2014/main" id="{8D68390C-DB45-4266-8BF9-C933890A3CF4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7D9C8F97-155C-4492-94DD-2215A5876C13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171C252A-724E-4473-887A-3F76A81E45F8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6" name="Group 2048">
            <a:extLst>
              <a:ext uri="{FF2B5EF4-FFF2-40B4-BE49-F238E27FC236}">
                <a16:creationId xmlns:a16="http://schemas.microsoft.com/office/drawing/2014/main" id="{86C53C8B-CA64-4087-9DB7-7C50A797AF4A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167" name="Freeform 23">
              <a:extLst>
                <a:ext uri="{FF2B5EF4-FFF2-40B4-BE49-F238E27FC236}">
                  <a16:creationId xmlns:a16="http://schemas.microsoft.com/office/drawing/2014/main" id="{8E397B99-6CA6-44E1-90C2-464FBD6EF97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68" name="Freeform 24">
              <a:extLst>
                <a:ext uri="{FF2B5EF4-FFF2-40B4-BE49-F238E27FC236}">
                  <a16:creationId xmlns:a16="http://schemas.microsoft.com/office/drawing/2014/main" id="{B29E7778-34E6-411C-8E61-EF7E7D179452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A65F99D2-89CE-401F-82C0-BBEC99AF603F}"/>
              </a:ext>
            </a:extLst>
          </p:cNvPr>
          <p:cNvGrpSpPr/>
          <p:nvPr/>
        </p:nvGrpSpPr>
        <p:grpSpPr>
          <a:xfrm>
            <a:off x="630183" y="1923645"/>
            <a:ext cx="3071461" cy="2669461"/>
            <a:chOff x="3785721" y="1717852"/>
            <a:chExt cx="4627594" cy="4021923"/>
          </a:xfrm>
        </p:grpSpPr>
        <p:sp>
          <p:nvSpPr>
            <p:cNvPr id="149" name="Shape_фон">
              <a:extLst>
                <a:ext uri="{FF2B5EF4-FFF2-40B4-BE49-F238E27FC236}">
                  <a16:creationId xmlns:a16="http://schemas.microsoft.com/office/drawing/2014/main" id="{AD9C9007-E932-4F59-ADDF-B5B9D40627E7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8D05103-1E9C-4C0D-8D53-341A5846DFD4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97" name="Shape_фон">
                <a:extLst>
                  <a:ext uri="{FF2B5EF4-FFF2-40B4-BE49-F238E27FC236}">
                    <a16:creationId xmlns:a16="http://schemas.microsoft.com/office/drawing/2014/main" id="{4DEFDE77-596E-454E-A0EC-5D7463F2F03A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4" name="Motion design">
                <a:extLst>
                  <a:ext uri="{FF2B5EF4-FFF2-40B4-BE49-F238E27FC236}">
                    <a16:creationId xmlns:a16="http://schemas.microsoft.com/office/drawing/2014/main" id="{B0E8BB8E-C2B7-45DF-A24A-1695587BCF53}"/>
                  </a:ext>
                </a:extLst>
              </p:cNvPr>
              <p:cNvSpPr txBox="1"/>
              <p:nvPr/>
            </p:nvSpPr>
            <p:spPr>
              <a:xfrm>
                <a:off x="1528519" y="1949249"/>
                <a:ext cx="1645888" cy="819220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4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4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169" name="Группа 168">
              <a:extLst>
                <a:ext uri="{FF2B5EF4-FFF2-40B4-BE49-F238E27FC236}">
                  <a16:creationId xmlns:a16="http://schemas.microsoft.com/office/drawing/2014/main" id="{62D4D211-F8AF-45A7-8FE3-3421101EAE44}"/>
                </a:ext>
              </a:extLst>
            </p:cNvPr>
            <p:cNvGrpSpPr/>
            <p:nvPr/>
          </p:nvGrpSpPr>
          <p:grpSpPr>
            <a:xfrm>
              <a:off x="4011300" y="3028817"/>
              <a:ext cx="2084700" cy="377702"/>
              <a:chOff x="6510195" y="1556711"/>
              <a:chExt cx="4675592" cy="847113"/>
            </a:xfrm>
          </p:grpSpPr>
          <p:sp>
            <p:nvSpPr>
              <p:cNvPr id="170" name="Rounded Rectangle">
                <a:extLst>
                  <a:ext uri="{FF2B5EF4-FFF2-40B4-BE49-F238E27FC236}">
                    <a16:creationId xmlns:a16="http://schemas.microsoft.com/office/drawing/2014/main" id="{B4877D1D-049B-4788-80A5-3847571B5C72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1" name="Motion design">
                <a:extLst>
                  <a:ext uri="{FF2B5EF4-FFF2-40B4-BE49-F238E27FC236}">
                    <a16:creationId xmlns:a16="http://schemas.microsoft.com/office/drawing/2014/main" id="{8102A5B0-7AB5-4377-A9C6-EA59B6CD2C1E}"/>
                  </a:ext>
                </a:extLst>
              </p:cNvPr>
              <p:cNvSpPr txBox="1"/>
              <p:nvPr/>
            </p:nvSpPr>
            <p:spPr>
              <a:xfrm>
                <a:off x="7710251" y="1728241"/>
                <a:ext cx="2841330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Типы</a:t>
                </a:r>
              </a:p>
            </p:txBody>
          </p:sp>
          <p:sp>
            <p:nvSpPr>
              <p:cNvPr id="172" name="Circle">
                <a:extLst>
                  <a:ext uri="{FF2B5EF4-FFF2-40B4-BE49-F238E27FC236}">
                    <a16:creationId xmlns:a16="http://schemas.microsoft.com/office/drawing/2014/main" id="{256B0D1A-EEB0-4294-8120-11D62405F74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4" name="Группа 183">
              <a:extLst>
                <a:ext uri="{FF2B5EF4-FFF2-40B4-BE49-F238E27FC236}">
                  <a16:creationId xmlns:a16="http://schemas.microsoft.com/office/drawing/2014/main" id="{BD3C2E60-80AE-408C-96F9-22F16F6D612A}"/>
                </a:ext>
              </a:extLst>
            </p:cNvPr>
            <p:cNvGrpSpPr/>
            <p:nvPr/>
          </p:nvGrpSpPr>
          <p:grpSpPr>
            <a:xfrm>
              <a:off x="4011300" y="3523236"/>
              <a:ext cx="2084700" cy="377702"/>
              <a:chOff x="6510195" y="1556711"/>
              <a:chExt cx="4675592" cy="847113"/>
            </a:xfrm>
          </p:grpSpPr>
          <p:sp>
            <p:nvSpPr>
              <p:cNvPr id="185" name="Rounded Rectangle">
                <a:extLst>
                  <a:ext uri="{FF2B5EF4-FFF2-40B4-BE49-F238E27FC236}">
                    <a16:creationId xmlns:a16="http://schemas.microsoft.com/office/drawing/2014/main" id="{892A4E9A-0EBF-46AD-9F03-7A32B8168E1D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86" name="Motion design">
                <a:extLst>
                  <a:ext uri="{FF2B5EF4-FFF2-40B4-BE49-F238E27FC236}">
                    <a16:creationId xmlns:a16="http://schemas.microsoft.com/office/drawing/2014/main" id="{2BBACE5C-EFB5-40F5-AAAD-054FC800DED7}"/>
                  </a:ext>
                </a:extLst>
              </p:cNvPr>
              <p:cNvSpPr txBox="1"/>
              <p:nvPr/>
            </p:nvSpPr>
            <p:spPr>
              <a:xfrm>
                <a:off x="7986460" y="1711876"/>
                <a:ext cx="233779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оли</a:t>
                </a:r>
              </a:p>
            </p:txBody>
          </p:sp>
          <p:sp>
            <p:nvSpPr>
              <p:cNvPr id="187" name="Circle">
                <a:extLst>
                  <a:ext uri="{FF2B5EF4-FFF2-40B4-BE49-F238E27FC236}">
                    <a16:creationId xmlns:a16="http://schemas.microsoft.com/office/drawing/2014/main" id="{D7F0DD8A-5B2B-4D06-B849-9594F9D4DB0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89" name="Группа 188">
              <a:extLst>
                <a:ext uri="{FF2B5EF4-FFF2-40B4-BE49-F238E27FC236}">
                  <a16:creationId xmlns:a16="http://schemas.microsoft.com/office/drawing/2014/main" id="{A3B80160-0870-44A1-B047-E66A4C225E1B}"/>
                </a:ext>
              </a:extLst>
            </p:cNvPr>
            <p:cNvGrpSpPr/>
            <p:nvPr/>
          </p:nvGrpSpPr>
          <p:grpSpPr>
            <a:xfrm>
              <a:off x="6159081" y="3029377"/>
              <a:ext cx="2084700" cy="377702"/>
              <a:chOff x="6510195" y="1556711"/>
              <a:chExt cx="4675592" cy="847113"/>
            </a:xfrm>
          </p:grpSpPr>
          <p:sp>
            <p:nvSpPr>
              <p:cNvPr id="190" name="Rounded Rectangle">
                <a:extLst>
                  <a:ext uri="{FF2B5EF4-FFF2-40B4-BE49-F238E27FC236}">
                    <a16:creationId xmlns:a16="http://schemas.microsoft.com/office/drawing/2014/main" id="{82788542-A448-4792-AB96-CDE00C16554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1" name="Motion design">
                <a:extLst>
                  <a:ext uri="{FF2B5EF4-FFF2-40B4-BE49-F238E27FC236}">
                    <a16:creationId xmlns:a16="http://schemas.microsoft.com/office/drawing/2014/main" id="{1DA6F6C0-7497-4545-8156-8F78FE7EB5A1}"/>
                  </a:ext>
                </a:extLst>
              </p:cNvPr>
              <p:cNvSpPr txBox="1"/>
              <p:nvPr/>
            </p:nvSpPr>
            <p:spPr>
              <a:xfrm>
                <a:off x="7710251" y="1714306"/>
                <a:ext cx="2613490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атегории</a:t>
                </a:r>
              </a:p>
            </p:txBody>
          </p:sp>
          <p:sp>
            <p:nvSpPr>
              <p:cNvPr id="192" name="Circle">
                <a:extLst>
                  <a:ext uri="{FF2B5EF4-FFF2-40B4-BE49-F238E27FC236}">
                    <a16:creationId xmlns:a16="http://schemas.microsoft.com/office/drawing/2014/main" id="{251A4620-CBEA-4FC0-BC66-1B9D2C6028E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94" name="Группа 193">
              <a:extLst>
                <a:ext uri="{FF2B5EF4-FFF2-40B4-BE49-F238E27FC236}">
                  <a16:creationId xmlns:a16="http://schemas.microsoft.com/office/drawing/2014/main" id="{6433C73A-2ABA-4B7F-ADDC-B274EB498B48}"/>
                </a:ext>
              </a:extLst>
            </p:cNvPr>
            <p:cNvGrpSpPr/>
            <p:nvPr/>
          </p:nvGrpSpPr>
          <p:grpSpPr>
            <a:xfrm>
              <a:off x="5066984" y="4064484"/>
              <a:ext cx="2058032" cy="377701"/>
              <a:chOff x="6510195" y="1556711"/>
              <a:chExt cx="4615781" cy="847113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18C5C0AE-B9E1-4BAE-B87E-5C0A858C59E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1578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EE1E4C80-E5AB-4669-B125-8F12A2628026}"/>
                  </a:ext>
                </a:extLst>
              </p:cNvPr>
              <p:cNvSpPr txBox="1"/>
              <p:nvPr/>
            </p:nvSpPr>
            <p:spPr>
              <a:xfrm>
                <a:off x="7824169" y="1725714"/>
                <a:ext cx="261348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бъединения: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E5BF1060-7CB4-4D91-A743-1220E7FBD94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Motion design">
              <a:extLst>
                <a:ext uri="{FF2B5EF4-FFF2-40B4-BE49-F238E27FC236}">
                  <a16:creationId xmlns:a16="http://schemas.microsoft.com/office/drawing/2014/main" id="{AC0AADF2-C2C1-447F-AC69-7B864E5936B8}"/>
                </a:ext>
              </a:extLst>
            </p:cNvPr>
            <p:cNvSpPr txBox="1"/>
            <p:nvPr/>
          </p:nvSpPr>
          <p:spPr>
            <a:xfrm>
              <a:off x="5189820" y="4467767"/>
              <a:ext cx="2102371" cy="94287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Домохозяйства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Клиент экосистемы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Группы компаний</a:t>
              </a:r>
            </a:p>
            <a:p>
              <a:pPr marL="171450" marR="0" lvl="0" indent="-171450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олдинги</a:t>
              </a:r>
            </a:p>
          </p:txBody>
        </p:sp>
        <p:grpSp>
          <p:nvGrpSpPr>
            <p:cNvPr id="201" name="Группа 200">
              <a:extLst>
                <a:ext uri="{FF2B5EF4-FFF2-40B4-BE49-F238E27FC236}">
                  <a16:creationId xmlns:a16="http://schemas.microsoft.com/office/drawing/2014/main" id="{A9FA9035-D573-42BC-8054-3644ABFA7252}"/>
                </a:ext>
              </a:extLst>
            </p:cNvPr>
            <p:cNvGrpSpPr/>
            <p:nvPr/>
          </p:nvGrpSpPr>
          <p:grpSpPr>
            <a:xfrm>
              <a:off x="6159081" y="3523236"/>
              <a:ext cx="2084700" cy="377702"/>
              <a:chOff x="6510195" y="1556711"/>
              <a:chExt cx="4675592" cy="847113"/>
            </a:xfrm>
          </p:grpSpPr>
          <p:sp>
            <p:nvSpPr>
              <p:cNvPr id="202" name="Rounded Rectangle">
                <a:extLst>
                  <a:ext uri="{FF2B5EF4-FFF2-40B4-BE49-F238E27FC236}">
                    <a16:creationId xmlns:a16="http://schemas.microsoft.com/office/drawing/2014/main" id="{ADA06535-0478-4B38-88D4-C52363B0CC5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67559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03" name="Motion design">
                <a:extLst>
                  <a:ext uri="{FF2B5EF4-FFF2-40B4-BE49-F238E27FC236}">
                    <a16:creationId xmlns:a16="http://schemas.microsoft.com/office/drawing/2014/main" id="{A785FC7D-4A0E-404E-AA3E-7AFC6F67265C}"/>
                  </a:ext>
                </a:extLst>
              </p:cNvPr>
              <p:cNvSpPr txBox="1"/>
              <p:nvPr/>
            </p:nvSpPr>
            <p:spPr>
              <a:xfrm>
                <a:off x="7986460" y="1711876"/>
                <a:ext cx="2337798" cy="49227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 ФЛ</a:t>
                </a:r>
              </a:p>
            </p:txBody>
          </p:sp>
          <p:sp>
            <p:nvSpPr>
              <p:cNvPr id="204" name="Circle">
                <a:extLst>
                  <a:ext uri="{FF2B5EF4-FFF2-40B4-BE49-F238E27FC236}">
                    <a16:creationId xmlns:a16="http://schemas.microsoft.com/office/drawing/2014/main" id="{425CC785-4A9C-4425-ACA4-A89026CACFF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649E0098-DFE5-4653-BD4D-059E0505C8AC}"/>
              </a:ext>
            </a:extLst>
          </p:cNvPr>
          <p:cNvGrpSpPr/>
          <p:nvPr/>
        </p:nvGrpSpPr>
        <p:grpSpPr>
          <a:xfrm>
            <a:off x="4148214" y="1923645"/>
            <a:ext cx="3023441" cy="2669458"/>
            <a:chOff x="13425889" y="1650455"/>
            <a:chExt cx="4631585" cy="4089322"/>
          </a:xfrm>
        </p:grpSpPr>
        <p:sp>
          <p:nvSpPr>
            <p:cNvPr id="151" name="Shape_фон">
              <a:extLst>
                <a:ext uri="{FF2B5EF4-FFF2-40B4-BE49-F238E27FC236}">
                  <a16:creationId xmlns:a16="http://schemas.microsoft.com/office/drawing/2014/main" id="{97CDAEF1-CDF2-4D3C-BE7B-1577FCA1EDB0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25C7B1C2-3B40-43CA-8B43-8897B76775CA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153" name="Shape_фон">
                <a:extLst>
                  <a:ext uri="{FF2B5EF4-FFF2-40B4-BE49-F238E27FC236}">
                    <a16:creationId xmlns:a16="http://schemas.microsoft.com/office/drawing/2014/main" id="{5BF3B914-48D9-4D36-9BC3-4BE53A94F4CC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6" name="Motion design">
                <a:extLst>
                  <a:ext uri="{FF2B5EF4-FFF2-40B4-BE49-F238E27FC236}">
                    <a16:creationId xmlns:a16="http://schemas.microsoft.com/office/drawing/2014/main" id="{59A87EBE-F7F1-4297-A8EC-D3B444AF6F98}"/>
                  </a:ext>
                </a:extLst>
              </p:cNvPr>
              <p:cNvSpPr txBox="1"/>
              <p:nvPr/>
            </p:nvSpPr>
            <p:spPr>
              <a:xfrm>
                <a:off x="1528519" y="1938064"/>
                <a:ext cx="1645889" cy="84159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4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4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1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62" name="Группа 261">
              <a:extLst>
                <a:ext uri="{FF2B5EF4-FFF2-40B4-BE49-F238E27FC236}">
                  <a16:creationId xmlns:a16="http://schemas.microsoft.com/office/drawing/2014/main" id="{E41F2E32-5A03-411F-9559-F416E35B7C16}"/>
                </a:ext>
              </a:extLst>
            </p:cNvPr>
            <p:cNvGrpSpPr/>
            <p:nvPr/>
          </p:nvGrpSpPr>
          <p:grpSpPr>
            <a:xfrm>
              <a:off x="13425889" y="2932469"/>
              <a:ext cx="2252360" cy="2098966"/>
              <a:chOff x="3851684" y="2998975"/>
              <a:chExt cx="2252360" cy="2098966"/>
            </a:xfrm>
          </p:grpSpPr>
          <p:grpSp>
            <p:nvGrpSpPr>
              <p:cNvPr id="263" name="Группа 262">
                <a:extLst>
                  <a:ext uri="{FF2B5EF4-FFF2-40B4-BE49-F238E27FC236}">
                    <a16:creationId xmlns:a16="http://schemas.microsoft.com/office/drawing/2014/main" id="{C59A2E92-C7E6-45C4-9906-5F72A4C95440}"/>
                  </a:ext>
                </a:extLst>
              </p:cNvPr>
              <p:cNvGrpSpPr/>
              <p:nvPr/>
            </p:nvGrpSpPr>
            <p:grpSpPr>
              <a:xfrm>
                <a:off x="3851684" y="4720239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4" name="Rounded Rectangle">
                  <a:extLst>
                    <a:ext uri="{FF2B5EF4-FFF2-40B4-BE49-F238E27FC236}">
                      <a16:creationId xmlns:a16="http://schemas.microsoft.com/office/drawing/2014/main" id="{289F0357-23BE-4854-8B0E-B16D5DC751C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5" name="Motion design">
                  <a:extLst>
                    <a:ext uri="{FF2B5EF4-FFF2-40B4-BE49-F238E27FC236}">
                      <a16:creationId xmlns:a16="http://schemas.microsoft.com/office/drawing/2014/main" id="{8FD40365-60AF-402D-8345-A78504C36281}"/>
                    </a:ext>
                  </a:extLst>
                </p:cNvPr>
                <p:cNvSpPr txBox="1"/>
                <p:nvPr/>
              </p:nvSpPr>
              <p:spPr>
                <a:xfrm>
                  <a:off x="7434558" y="1750700"/>
                  <a:ext cx="3691420" cy="43795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 и услуги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6" name="Circle">
                  <a:extLst>
                    <a:ext uri="{FF2B5EF4-FFF2-40B4-BE49-F238E27FC236}">
                      <a16:creationId xmlns:a16="http://schemas.microsoft.com/office/drawing/2014/main" id="{55556C5C-585D-4965-92DC-EDFFDFFB430D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4" name="Группа 263">
                <a:extLst>
                  <a:ext uri="{FF2B5EF4-FFF2-40B4-BE49-F238E27FC236}">
                    <a16:creationId xmlns:a16="http://schemas.microsoft.com/office/drawing/2014/main" id="{69246239-B145-493D-AD0B-8524F5674A24}"/>
                  </a:ext>
                </a:extLst>
              </p:cNvPr>
              <p:cNvGrpSpPr/>
              <p:nvPr/>
            </p:nvGrpSpPr>
            <p:grpSpPr>
              <a:xfrm>
                <a:off x="3851684" y="4289923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80" name="Rounded Rectangle">
                  <a:extLst>
                    <a:ext uri="{FF2B5EF4-FFF2-40B4-BE49-F238E27FC236}">
                      <a16:creationId xmlns:a16="http://schemas.microsoft.com/office/drawing/2014/main" id="{278193B6-D466-46CA-80C5-FC2A2EA0330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81" name="Motion design">
                  <a:extLst>
                    <a:ext uri="{FF2B5EF4-FFF2-40B4-BE49-F238E27FC236}">
                      <a16:creationId xmlns:a16="http://schemas.microsoft.com/office/drawing/2014/main" id="{03006569-426D-4442-B878-8572B9BBB73E}"/>
                    </a:ext>
                  </a:extLst>
                </p:cNvPr>
                <p:cNvSpPr txBox="1"/>
                <p:nvPr/>
              </p:nvSpPr>
              <p:spPr>
                <a:xfrm>
                  <a:off x="7434558" y="1750700"/>
                  <a:ext cx="3691420" cy="43795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владения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82" name="Circle">
                  <a:extLst>
                    <a:ext uri="{FF2B5EF4-FFF2-40B4-BE49-F238E27FC236}">
                      <a16:creationId xmlns:a16="http://schemas.microsoft.com/office/drawing/2014/main" id="{3E4CDE55-4FB9-43C7-84E7-9A79F833D3B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5" name="Группа 264">
                <a:extLst>
                  <a:ext uri="{FF2B5EF4-FFF2-40B4-BE49-F238E27FC236}">
                    <a16:creationId xmlns:a16="http://schemas.microsoft.com/office/drawing/2014/main" id="{D419F041-B85C-4B12-9B3B-28BA8D83B870}"/>
                  </a:ext>
                </a:extLst>
              </p:cNvPr>
              <p:cNvGrpSpPr/>
              <p:nvPr/>
            </p:nvGrpSpPr>
            <p:grpSpPr>
              <a:xfrm>
                <a:off x="3851684" y="3859608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6" name="Rounded Rectangle">
                  <a:extLst>
                    <a:ext uri="{FF2B5EF4-FFF2-40B4-BE49-F238E27FC236}">
                      <a16:creationId xmlns:a16="http://schemas.microsoft.com/office/drawing/2014/main" id="{42333950-A6EE-4837-A25E-63C37DA2E513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7" name="Motion design">
                  <a:extLst>
                    <a:ext uri="{FF2B5EF4-FFF2-40B4-BE49-F238E27FC236}">
                      <a16:creationId xmlns:a16="http://schemas.microsoft.com/office/drawing/2014/main" id="{4EBE1E0E-7282-4D8E-9780-D64CB9732650}"/>
                    </a:ext>
                  </a:extLst>
                </p:cNvPr>
                <p:cNvSpPr txBox="1"/>
                <p:nvPr/>
              </p:nvSpPr>
              <p:spPr>
                <a:xfrm>
                  <a:off x="7434558" y="1750700"/>
                  <a:ext cx="3691420" cy="43795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8" name="Circle">
                  <a:extLst>
                    <a:ext uri="{FF2B5EF4-FFF2-40B4-BE49-F238E27FC236}">
                      <a16:creationId xmlns:a16="http://schemas.microsoft.com/office/drawing/2014/main" id="{CA3FECCD-53B7-4CAF-9096-0190232E84E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6" name="Группа 265">
                <a:extLst>
                  <a:ext uri="{FF2B5EF4-FFF2-40B4-BE49-F238E27FC236}">
                    <a16:creationId xmlns:a16="http://schemas.microsoft.com/office/drawing/2014/main" id="{EAD3F4A6-D0B4-4C46-AC84-296F1B972707}"/>
                  </a:ext>
                </a:extLst>
              </p:cNvPr>
              <p:cNvGrpSpPr/>
              <p:nvPr/>
            </p:nvGrpSpPr>
            <p:grpSpPr>
              <a:xfrm>
                <a:off x="3851684" y="3429292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72" name="Rounded Rectangle">
                  <a:extLst>
                    <a:ext uri="{FF2B5EF4-FFF2-40B4-BE49-F238E27FC236}">
                      <a16:creationId xmlns:a16="http://schemas.microsoft.com/office/drawing/2014/main" id="{F20B754D-5359-49BC-80FE-844B4DBF3455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3" name="Motion design">
                  <a:extLst>
                    <a:ext uri="{FF2B5EF4-FFF2-40B4-BE49-F238E27FC236}">
                      <a16:creationId xmlns:a16="http://schemas.microsoft.com/office/drawing/2014/main" id="{6597A7C0-2859-45CD-AE34-CE494436497A}"/>
                    </a:ext>
                  </a:extLst>
                </p:cNvPr>
                <p:cNvSpPr txBox="1"/>
                <p:nvPr/>
              </p:nvSpPr>
              <p:spPr>
                <a:xfrm>
                  <a:off x="7434558" y="1750700"/>
                  <a:ext cx="3691420" cy="43795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4" name="Circle">
                  <a:extLst>
                    <a:ext uri="{FF2B5EF4-FFF2-40B4-BE49-F238E27FC236}">
                      <a16:creationId xmlns:a16="http://schemas.microsoft.com/office/drawing/2014/main" id="{DEA63950-9723-430A-AB48-2E40D09216BC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67" name="Группа 266">
                <a:extLst>
                  <a:ext uri="{FF2B5EF4-FFF2-40B4-BE49-F238E27FC236}">
                    <a16:creationId xmlns:a16="http://schemas.microsoft.com/office/drawing/2014/main" id="{4A8898E9-83AE-42FB-B9AB-A8D93134FEC6}"/>
                  </a:ext>
                </a:extLst>
              </p:cNvPr>
              <p:cNvGrpSpPr/>
              <p:nvPr/>
            </p:nvGrpSpPr>
            <p:grpSpPr>
              <a:xfrm>
                <a:off x="3851684" y="2998975"/>
                <a:ext cx="2252360" cy="377702"/>
                <a:chOff x="6510195" y="1556711"/>
                <a:chExt cx="5051622" cy="847113"/>
              </a:xfrm>
            </p:grpSpPr>
            <p:sp>
              <p:nvSpPr>
                <p:cNvPr id="268" name="Rounded Rectangle">
                  <a:extLst>
                    <a:ext uri="{FF2B5EF4-FFF2-40B4-BE49-F238E27FC236}">
                      <a16:creationId xmlns:a16="http://schemas.microsoft.com/office/drawing/2014/main" id="{B5CD6FAC-12E5-4E07-87C2-2F3BE21CD42E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9" name="Motion design">
                  <a:extLst>
                    <a:ext uri="{FF2B5EF4-FFF2-40B4-BE49-F238E27FC236}">
                      <a16:creationId xmlns:a16="http://schemas.microsoft.com/office/drawing/2014/main" id="{E6244FB0-4942-42A7-93AB-8B8479006C95}"/>
                    </a:ext>
                  </a:extLst>
                </p:cNvPr>
                <p:cNvSpPr txBox="1"/>
                <p:nvPr/>
              </p:nvSpPr>
              <p:spPr>
                <a:xfrm>
                  <a:off x="7434558" y="1750700"/>
                  <a:ext cx="3691420" cy="43795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7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0" name="Circle">
                  <a:extLst>
                    <a:ext uri="{FF2B5EF4-FFF2-40B4-BE49-F238E27FC236}">
                      <a16:creationId xmlns:a16="http://schemas.microsoft.com/office/drawing/2014/main" id="{3AD9BBFF-E781-4333-A050-88C49E0B6A7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8" name="Группа 287">
              <a:extLst>
                <a:ext uri="{FF2B5EF4-FFF2-40B4-BE49-F238E27FC236}">
                  <a16:creationId xmlns:a16="http://schemas.microsoft.com/office/drawing/2014/main" id="{EA052F31-1E61-44AF-9CA5-5736A56FDD3E}"/>
                </a:ext>
              </a:extLst>
            </p:cNvPr>
            <p:cNvGrpSpPr/>
            <p:nvPr/>
          </p:nvGrpSpPr>
          <p:grpSpPr>
            <a:xfrm>
              <a:off x="15743677" y="5084050"/>
              <a:ext cx="2252360" cy="377702"/>
              <a:chOff x="6510195" y="1556711"/>
              <a:chExt cx="5051622" cy="847113"/>
            </a:xfrm>
          </p:grpSpPr>
          <p:sp>
            <p:nvSpPr>
              <p:cNvPr id="289" name="Rounded Rectangle">
                <a:extLst>
                  <a:ext uri="{FF2B5EF4-FFF2-40B4-BE49-F238E27FC236}">
                    <a16:creationId xmlns:a16="http://schemas.microsoft.com/office/drawing/2014/main" id="{07813257-800A-4E49-B66A-F253442510D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0" name="Motion design">
                <a:extLst>
                  <a:ext uri="{FF2B5EF4-FFF2-40B4-BE49-F238E27FC236}">
                    <a16:creationId xmlns:a16="http://schemas.microsoft.com/office/drawing/2014/main" id="{BD6F00DA-3014-4BC0-819C-AC52BD6DA427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нкета ПОД/ФТ</a:t>
                </a:r>
              </a:p>
            </p:txBody>
          </p:sp>
          <p:sp>
            <p:nvSpPr>
              <p:cNvPr id="291" name="Circle">
                <a:extLst>
                  <a:ext uri="{FF2B5EF4-FFF2-40B4-BE49-F238E27FC236}">
                    <a16:creationId xmlns:a16="http://schemas.microsoft.com/office/drawing/2014/main" id="{4D0A0499-6BFC-44E2-BE46-9428358CD094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3" name="Группа 292">
              <a:extLst>
                <a:ext uri="{FF2B5EF4-FFF2-40B4-BE49-F238E27FC236}">
                  <a16:creationId xmlns:a16="http://schemas.microsoft.com/office/drawing/2014/main" id="{25C90126-C469-4BA5-BE70-E86D99DB19D6}"/>
                </a:ext>
              </a:extLst>
            </p:cNvPr>
            <p:cNvGrpSpPr/>
            <p:nvPr/>
          </p:nvGrpSpPr>
          <p:grpSpPr>
            <a:xfrm>
              <a:off x="15743677" y="4653734"/>
              <a:ext cx="2252360" cy="377702"/>
              <a:chOff x="6510195" y="1556711"/>
              <a:chExt cx="5051622" cy="847113"/>
            </a:xfrm>
          </p:grpSpPr>
          <p:sp>
            <p:nvSpPr>
              <p:cNvPr id="294" name="Rounded Rectangle">
                <a:extLst>
                  <a:ext uri="{FF2B5EF4-FFF2-40B4-BE49-F238E27FC236}">
                    <a16:creationId xmlns:a16="http://schemas.microsoft.com/office/drawing/2014/main" id="{2B0996F8-51FD-4272-BEDD-E19C692CF635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95" name="Motion design">
                <a:extLst>
                  <a:ext uri="{FF2B5EF4-FFF2-40B4-BE49-F238E27FC236}">
                    <a16:creationId xmlns:a16="http://schemas.microsoft.com/office/drawing/2014/main" id="{A8FF7ECB-89AF-43B5-8BA4-050458623D2B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Атрибуты связей</a:t>
                </a:r>
              </a:p>
            </p:txBody>
          </p:sp>
          <p:sp>
            <p:nvSpPr>
              <p:cNvPr id="296" name="Circle">
                <a:extLst>
                  <a:ext uri="{FF2B5EF4-FFF2-40B4-BE49-F238E27FC236}">
                    <a16:creationId xmlns:a16="http://schemas.microsoft.com/office/drawing/2014/main" id="{C6A41059-A605-4F94-B47F-E630074BDABC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298" name="Группа 297">
              <a:extLst>
                <a:ext uri="{FF2B5EF4-FFF2-40B4-BE49-F238E27FC236}">
                  <a16:creationId xmlns:a16="http://schemas.microsoft.com/office/drawing/2014/main" id="{42D1BF5E-5F4F-4E29-AAD6-8AE9F1FABC3E}"/>
                </a:ext>
              </a:extLst>
            </p:cNvPr>
            <p:cNvGrpSpPr/>
            <p:nvPr/>
          </p:nvGrpSpPr>
          <p:grpSpPr>
            <a:xfrm>
              <a:off x="15743677" y="4223418"/>
              <a:ext cx="2252360" cy="377702"/>
              <a:chOff x="6510195" y="1556711"/>
              <a:chExt cx="5051622" cy="847113"/>
            </a:xfrm>
          </p:grpSpPr>
          <p:sp>
            <p:nvSpPr>
              <p:cNvPr id="299" name="Rounded Rectangle">
                <a:extLst>
                  <a:ext uri="{FF2B5EF4-FFF2-40B4-BE49-F238E27FC236}">
                    <a16:creationId xmlns:a16="http://schemas.microsoft.com/office/drawing/2014/main" id="{6F317413-EDCB-4881-8B34-A2BDAA7B1F1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0" name="Motion design">
                <a:extLst>
                  <a:ext uri="{FF2B5EF4-FFF2-40B4-BE49-F238E27FC236}">
                    <a16:creationId xmlns:a16="http://schemas.microsoft.com/office/drawing/2014/main" id="{23081F63-AD2E-49F4-B9D7-655384ED0E4F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Фин. показатели</a:t>
                </a:r>
              </a:p>
            </p:txBody>
          </p:sp>
          <p:sp>
            <p:nvSpPr>
              <p:cNvPr id="301" name="Circle">
                <a:extLst>
                  <a:ext uri="{FF2B5EF4-FFF2-40B4-BE49-F238E27FC236}">
                    <a16:creationId xmlns:a16="http://schemas.microsoft.com/office/drawing/2014/main" id="{40A7E7E2-7DCB-4AA0-B7A8-07CC36E61A1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3" name="Группа 302">
              <a:extLst>
                <a:ext uri="{FF2B5EF4-FFF2-40B4-BE49-F238E27FC236}">
                  <a16:creationId xmlns:a16="http://schemas.microsoft.com/office/drawing/2014/main" id="{DCAF59F3-3AE1-4ADD-BCFF-92E1A924FC97}"/>
                </a:ext>
              </a:extLst>
            </p:cNvPr>
            <p:cNvGrpSpPr/>
            <p:nvPr/>
          </p:nvGrpSpPr>
          <p:grpSpPr>
            <a:xfrm>
              <a:off x="15743677" y="3793102"/>
              <a:ext cx="2252360" cy="377702"/>
              <a:chOff x="6510195" y="1556711"/>
              <a:chExt cx="5051622" cy="847113"/>
            </a:xfrm>
          </p:grpSpPr>
          <p:sp>
            <p:nvSpPr>
              <p:cNvPr id="304" name="Rounded Rectangle">
                <a:extLst>
                  <a:ext uri="{FF2B5EF4-FFF2-40B4-BE49-F238E27FC236}">
                    <a16:creationId xmlns:a16="http://schemas.microsoft.com/office/drawing/2014/main" id="{F20ABDC3-E367-4DAE-8FAD-DB2DE342B7D9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05" name="Motion design">
                <a:extLst>
                  <a:ext uri="{FF2B5EF4-FFF2-40B4-BE49-F238E27FC236}">
                    <a16:creationId xmlns:a16="http://schemas.microsoft.com/office/drawing/2014/main" id="{A18A400D-3F43-4142-95B3-86BAC54E7DCA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Коммуникации</a:t>
                </a:r>
                <a:endParaRPr kumimoji="0" lang="ru-RU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306" name="Circle">
                <a:extLst>
                  <a:ext uri="{FF2B5EF4-FFF2-40B4-BE49-F238E27FC236}">
                    <a16:creationId xmlns:a16="http://schemas.microsoft.com/office/drawing/2014/main" id="{0157086B-5431-4945-B358-AE710E8D555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08" name="Группа 307">
              <a:extLst>
                <a:ext uri="{FF2B5EF4-FFF2-40B4-BE49-F238E27FC236}">
                  <a16:creationId xmlns:a16="http://schemas.microsoft.com/office/drawing/2014/main" id="{EED2E0EE-B3F9-4D96-AE81-FA3F27B2DFBD}"/>
                </a:ext>
              </a:extLst>
            </p:cNvPr>
            <p:cNvGrpSpPr/>
            <p:nvPr/>
          </p:nvGrpSpPr>
          <p:grpSpPr>
            <a:xfrm>
              <a:off x="15743677" y="3362786"/>
              <a:ext cx="2252360" cy="377702"/>
              <a:chOff x="6510195" y="1556711"/>
              <a:chExt cx="5051622" cy="847113"/>
            </a:xfrm>
          </p:grpSpPr>
          <p:sp>
            <p:nvSpPr>
              <p:cNvPr id="309" name="Rounded Rectangle">
                <a:extLst>
                  <a:ext uri="{FF2B5EF4-FFF2-40B4-BE49-F238E27FC236}">
                    <a16:creationId xmlns:a16="http://schemas.microsoft.com/office/drawing/2014/main" id="{BE14154B-7158-4F97-B4E9-154C76DF8AF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0" name="Motion design">
                <a:extLst>
                  <a:ext uri="{FF2B5EF4-FFF2-40B4-BE49-F238E27FC236}">
                    <a16:creationId xmlns:a16="http://schemas.microsoft.com/office/drawing/2014/main" id="{B688A0B8-EE9C-4CB6-B68F-B7F14DD8400D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Сессии, </a:t>
                </a:r>
                <a:r>
                  <a:rPr lang="en-US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ookie</a:t>
                </a:r>
              </a:p>
            </p:txBody>
          </p:sp>
          <p:sp>
            <p:nvSpPr>
              <p:cNvPr id="311" name="Circle">
                <a:extLst>
                  <a:ext uri="{FF2B5EF4-FFF2-40B4-BE49-F238E27FC236}">
                    <a16:creationId xmlns:a16="http://schemas.microsoft.com/office/drawing/2014/main" id="{16308C5B-3AA7-488A-9573-1028CC69784B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13" name="Группа 312">
              <a:extLst>
                <a:ext uri="{FF2B5EF4-FFF2-40B4-BE49-F238E27FC236}">
                  <a16:creationId xmlns:a16="http://schemas.microsoft.com/office/drawing/2014/main" id="{1D7A8E20-52F0-4511-8FCB-CD7027382CC8}"/>
                </a:ext>
              </a:extLst>
            </p:cNvPr>
            <p:cNvGrpSpPr/>
            <p:nvPr/>
          </p:nvGrpSpPr>
          <p:grpSpPr>
            <a:xfrm>
              <a:off x="15743677" y="2932470"/>
              <a:ext cx="2252360" cy="377702"/>
              <a:chOff x="6510195" y="1556711"/>
              <a:chExt cx="5051622" cy="847113"/>
            </a:xfrm>
          </p:grpSpPr>
          <p:sp>
            <p:nvSpPr>
              <p:cNvPr id="314" name="Rounded Rectangle">
                <a:extLst>
                  <a:ext uri="{FF2B5EF4-FFF2-40B4-BE49-F238E27FC236}">
                    <a16:creationId xmlns:a16="http://schemas.microsoft.com/office/drawing/2014/main" id="{E1E10827-5611-40A3-8C2B-30094B7D37B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5" name="Motion design">
                <a:extLst>
                  <a:ext uri="{FF2B5EF4-FFF2-40B4-BE49-F238E27FC236}">
                    <a16:creationId xmlns:a16="http://schemas.microsoft.com/office/drawing/2014/main" id="{5B37F1AF-E47B-487A-A596-EDDC7C1BE77B}"/>
                  </a:ext>
                </a:extLst>
              </p:cNvPr>
              <p:cNvSpPr txBox="1"/>
              <p:nvPr/>
            </p:nvSpPr>
            <p:spPr>
              <a:xfrm>
                <a:off x="7434558" y="1750700"/>
                <a:ext cx="3691420" cy="437957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700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Устройства </a:t>
                </a:r>
              </a:p>
            </p:txBody>
          </p:sp>
          <p:sp>
            <p:nvSpPr>
              <p:cNvPr id="316" name="Circle">
                <a:extLst>
                  <a:ext uri="{FF2B5EF4-FFF2-40B4-BE49-F238E27FC236}">
                    <a16:creationId xmlns:a16="http://schemas.microsoft.com/office/drawing/2014/main" id="{2EE67615-E0F1-459C-8B41-E2F2D368E03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7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29" name="Группа 28">
            <a:extLst>
              <a:ext uri="{FF2B5EF4-FFF2-40B4-BE49-F238E27FC236}">
                <a16:creationId xmlns:a16="http://schemas.microsoft.com/office/drawing/2014/main" id="{F6AF7201-AD0E-4A6D-BDC0-37CC6B7CCB04}"/>
              </a:ext>
            </a:extLst>
          </p:cNvPr>
          <p:cNvGrpSpPr/>
          <p:nvPr/>
        </p:nvGrpSpPr>
        <p:grpSpPr>
          <a:xfrm>
            <a:off x="7407865" y="1650455"/>
            <a:ext cx="4627594" cy="4089322"/>
            <a:chOff x="18509319" y="1650455"/>
            <a:chExt cx="4627594" cy="4089322"/>
          </a:xfrm>
        </p:grpSpPr>
        <p:sp>
          <p:nvSpPr>
            <p:cNvPr id="319" name="Shape_фон">
              <a:extLst>
                <a:ext uri="{FF2B5EF4-FFF2-40B4-BE49-F238E27FC236}">
                  <a16:creationId xmlns:a16="http://schemas.microsoft.com/office/drawing/2014/main" id="{45EBD626-779E-47D0-9A1F-0A7B9F2BC212}"/>
                </a:ext>
              </a:extLst>
            </p:cNvPr>
            <p:cNvSpPr/>
            <p:nvPr/>
          </p:nvSpPr>
          <p:spPr>
            <a:xfrm>
              <a:off x="18509319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320" name="Группа 319">
              <a:extLst>
                <a:ext uri="{FF2B5EF4-FFF2-40B4-BE49-F238E27FC236}">
                  <a16:creationId xmlns:a16="http://schemas.microsoft.com/office/drawing/2014/main" id="{CE572A51-9FB7-463D-B00B-E42F5D9724B4}"/>
                </a:ext>
              </a:extLst>
            </p:cNvPr>
            <p:cNvGrpSpPr/>
            <p:nvPr/>
          </p:nvGrpSpPr>
          <p:grpSpPr>
            <a:xfrm>
              <a:off x="19696936" y="1650455"/>
              <a:ext cx="2252360" cy="1143115"/>
              <a:chOff x="8681847" y="1717853"/>
              <a:chExt cx="2252360" cy="1143115"/>
            </a:xfrm>
          </p:grpSpPr>
          <p:sp>
            <p:nvSpPr>
              <p:cNvPr id="347" name="Shape_фон">
                <a:extLst>
                  <a:ext uri="{FF2B5EF4-FFF2-40B4-BE49-F238E27FC236}">
                    <a16:creationId xmlns:a16="http://schemas.microsoft.com/office/drawing/2014/main" id="{735E52EA-1EC8-4AC6-8EEE-0A1E2724B70C}"/>
                  </a:ext>
                </a:extLst>
              </p:cNvPr>
              <p:cNvSpPr/>
              <p:nvPr/>
            </p:nvSpPr>
            <p:spPr>
              <a:xfrm>
                <a:off x="8681847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>
                  <a:defRPr/>
                </a:pPr>
                <a:endPara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48" name="Motion design">
                <a:extLst>
                  <a:ext uri="{FF2B5EF4-FFF2-40B4-BE49-F238E27FC236}">
                    <a16:creationId xmlns:a16="http://schemas.microsoft.com/office/drawing/2014/main" id="{2DC44947-AD84-46BB-A2DD-CA8C59E8D3F5}"/>
                  </a:ext>
                </a:extLst>
              </p:cNvPr>
              <p:cNvSpPr txBox="1"/>
              <p:nvPr/>
            </p:nvSpPr>
            <p:spPr>
              <a:xfrm>
                <a:off x="8985083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I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ntegration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350" name="Группа 349">
              <a:extLst>
                <a:ext uri="{FF2B5EF4-FFF2-40B4-BE49-F238E27FC236}">
                  <a16:creationId xmlns:a16="http://schemas.microsoft.com/office/drawing/2014/main" id="{237A98B4-8C73-4612-9A3A-89E960745EFE}"/>
                </a:ext>
              </a:extLst>
            </p:cNvPr>
            <p:cNvGrpSpPr/>
            <p:nvPr/>
          </p:nvGrpSpPr>
          <p:grpSpPr>
            <a:xfrm>
              <a:off x="18578246" y="2946251"/>
              <a:ext cx="2203178" cy="377702"/>
              <a:chOff x="6510195" y="1556711"/>
              <a:chExt cx="4941315" cy="847113"/>
            </a:xfrm>
          </p:grpSpPr>
          <p:sp>
            <p:nvSpPr>
              <p:cNvPr id="356" name="Rounded Rectangle">
                <a:extLst>
                  <a:ext uri="{FF2B5EF4-FFF2-40B4-BE49-F238E27FC236}">
                    <a16:creationId xmlns:a16="http://schemas.microsoft.com/office/drawing/2014/main" id="{96F43E0C-E9AD-4B44-86EA-BFCC8E2AED9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5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7" name="Motion design">
                <a:extLst>
                  <a:ext uri="{FF2B5EF4-FFF2-40B4-BE49-F238E27FC236}">
                    <a16:creationId xmlns:a16="http://schemas.microsoft.com/office/drawing/2014/main" id="{D4206B10-A86D-4CB5-98D4-05CAA3791F57}"/>
                  </a:ext>
                </a:extLst>
              </p:cNvPr>
              <p:cNvSpPr txBox="1"/>
              <p:nvPr/>
            </p:nvSpPr>
            <p:spPr>
              <a:xfrm>
                <a:off x="7501218" y="1748637"/>
                <a:ext cx="3273109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акет, </a:t>
                </a:r>
                <a:r>
                  <a:rPr lang="en-US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OAP, JMS</a:t>
                </a:r>
              </a:p>
            </p:txBody>
          </p:sp>
          <p:sp>
            <p:nvSpPr>
              <p:cNvPr id="358" name="Circle">
                <a:extLst>
                  <a:ext uri="{FF2B5EF4-FFF2-40B4-BE49-F238E27FC236}">
                    <a16:creationId xmlns:a16="http://schemas.microsoft.com/office/drawing/2014/main" id="{82B78E9B-4C28-424A-AB13-13D9E996841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51" name="Группа 350">
              <a:extLst>
                <a:ext uri="{FF2B5EF4-FFF2-40B4-BE49-F238E27FC236}">
                  <a16:creationId xmlns:a16="http://schemas.microsoft.com/office/drawing/2014/main" id="{0AE5510D-E497-4942-A2C9-212770DF009A}"/>
                </a:ext>
              </a:extLst>
            </p:cNvPr>
            <p:cNvGrpSpPr/>
            <p:nvPr/>
          </p:nvGrpSpPr>
          <p:grpSpPr>
            <a:xfrm>
              <a:off x="18578246" y="3417126"/>
              <a:ext cx="2203177" cy="377702"/>
              <a:chOff x="6510195" y="1556711"/>
              <a:chExt cx="4941313" cy="847113"/>
            </a:xfrm>
          </p:grpSpPr>
          <p:sp>
            <p:nvSpPr>
              <p:cNvPr id="352" name="Rounded Rectangle">
                <a:extLst>
                  <a:ext uri="{FF2B5EF4-FFF2-40B4-BE49-F238E27FC236}">
                    <a16:creationId xmlns:a16="http://schemas.microsoft.com/office/drawing/2014/main" id="{8426E8C8-B852-4C6A-9344-60952F52F9C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3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53" name="Motion design">
                <a:extLst>
                  <a:ext uri="{FF2B5EF4-FFF2-40B4-BE49-F238E27FC236}">
                    <a16:creationId xmlns:a16="http://schemas.microsoft.com/office/drawing/2014/main" id="{49CCBC94-A573-4D7E-8E3B-F0FEC030BEFC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327310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Внешние источники </a:t>
                </a:r>
                <a:endParaRPr lang="en-US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54" name="Circle">
                <a:extLst>
                  <a:ext uri="{FF2B5EF4-FFF2-40B4-BE49-F238E27FC236}">
                    <a16:creationId xmlns:a16="http://schemas.microsoft.com/office/drawing/2014/main" id="{D72D4B6D-4B24-4259-ADFF-D928F7ECC0A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0" name="Группа 359">
              <a:extLst>
                <a:ext uri="{FF2B5EF4-FFF2-40B4-BE49-F238E27FC236}">
                  <a16:creationId xmlns:a16="http://schemas.microsoft.com/office/drawing/2014/main" id="{328E7CCF-5BFA-4CB0-8D4F-CEC53FDF6791}"/>
                </a:ext>
              </a:extLst>
            </p:cNvPr>
            <p:cNvGrpSpPr/>
            <p:nvPr/>
          </p:nvGrpSpPr>
          <p:grpSpPr>
            <a:xfrm>
              <a:off x="18578246" y="3888001"/>
              <a:ext cx="2203176" cy="410563"/>
              <a:chOff x="6510195" y="1483010"/>
              <a:chExt cx="4941311" cy="920814"/>
            </a:xfrm>
          </p:grpSpPr>
          <p:sp>
            <p:nvSpPr>
              <p:cNvPr id="361" name="Rounded Rectangle">
                <a:extLst>
                  <a:ext uri="{FF2B5EF4-FFF2-40B4-BE49-F238E27FC236}">
                    <a16:creationId xmlns:a16="http://schemas.microsoft.com/office/drawing/2014/main" id="{C6554C3E-D93B-43EE-BDB1-FEC8714096E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11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2" name="Motion design">
                <a:extLst>
                  <a:ext uri="{FF2B5EF4-FFF2-40B4-BE49-F238E27FC236}">
                    <a16:creationId xmlns:a16="http://schemas.microsoft.com/office/drawing/2014/main" id="{80178749-82BD-40A9-85C1-0EAE033F5B6F}"/>
                  </a:ext>
                </a:extLst>
              </p:cNvPr>
              <p:cNvSpPr txBox="1"/>
              <p:nvPr/>
            </p:nvSpPr>
            <p:spPr>
              <a:xfrm>
                <a:off x="7434557" y="1483010"/>
                <a:ext cx="327310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нфигуратор событий</a:t>
                </a:r>
                <a:b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ратного потока</a:t>
                </a:r>
              </a:p>
            </p:txBody>
          </p:sp>
          <p:sp>
            <p:nvSpPr>
              <p:cNvPr id="363" name="Circle">
                <a:extLst>
                  <a:ext uri="{FF2B5EF4-FFF2-40B4-BE49-F238E27FC236}">
                    <a16:creationId xmlns:a16="http://schemas.microsoft.com/office/drawing/2014/main" id="{BC517774-2536-49EC-808F-384A59D7DF6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65" name="Группа 364">
              <a:extLst>
                <a:ext uri="{FF2B5EF4-FFF2-40B4-BE49-F238E27FC236}">
                  <a16:creationId xmlns:a16="http://schemas.microsoft.com/office/drawing/2014/main" id="{0EA910EE-5A92-4FBA-B481-15B765E60C6A}"/>
                </a:ext>
              </a:extLst>
            </p:cNvPr>
            <p:cNvGrpSpPr/>
            <p:nvPr/>
          </p:nvGrpSpPr>
          <p:grpSpPr>
            <a:xfrm>
              <a:off x="20855624" y="2946251"/>
              <a:ext cx="2203175" cy="377702"/>
              <a:chOff x="6510195" y="1556711"/>
              <a:chExt cx="4941309" cy="847113"/>
            </a:xfrm>
          </p:grpSpPr>
          <p:sp>
            <p:nvSpPr>
              <p:cNvPr id="366" name="Rounded Rectangle">
                <a:extLst>
                  <a:ext uri="{FF2B5EF4-FFF2-40B4-BE49-F238E27FC236}">
                    <a16:creationId xmlns:a16="http://schemas.microsoft.com/office/drawing/2014/main" id="{3F312BF2-7D70-4CFD-B639-CFD58660B578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67" name="Motion design">
                <a:extLst>
                  <a:ext uri="{FF2B5EF4-FFF2-40B4-BE49-F238E27FC236}">
                    <a16:creationId xmlns:a16="http://schemas.microsoft.com/office/drawing/2014/main" id="{254F5EFE-8A55-43C4-B6A4-076FEFEE7432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 err="1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атастрофоустойчивость</a:t>
                </a:r>
                <a:endParaRPr lang="ru-RU" sz="105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endParaRPr>
              </a:p>
            </p:txBody>
          </p:sp>
          <p:sp>
            <p:nvSpPr>
              <p:cNvPr id="368" name="Circle">
                <a:extLst>
                  <a:ext uri="{FF2B5EF4-FFF2-40B4-BE49-F238E27FC236}">
                    <a16:creationId xmlns:a16="http://schemas.microsoft.com/office/drawing/2014/main" id="{D9EF932D-2ED3-4098-91C3-161186A21C36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0" name="Группа 369">
              <a:extLst>
                <a:ext uri="{FF2B5EF4-FFF2-40B4-BE49-F238E27FC236}">
                  <a16:creationId xmlns:a16="http://schemas.microsoft.com/office/drawing/2014/main" id="{B4260DB8-6BD2-426E-8349-36F31E084E34}"/>
                </a:ext>
              </a:extLst>
            </p:cNvPr>
            <p:cNvGrpSpPr/>
            <p:nvPr/>
          </p:nvGrpSpPr>
          <p:grpSpPr>
            <a:xfrm>
              <a:off x="20855623" y="3413469"/>
              <a:ext cx="2203175" cy="417111"/>
              <a:chOff x="6510195" y="1468324"/>
              <a:chExt cx="4941309" cy="935500"/>
            </a:xfrm>
          </p:grpSpPr>
          <p:sp>
            <p:nvSpPr>
              <p:cNvPr id="371" name="Rounded Rectangle">
                <a:extLst>
                  <a:ext uri="{FF2B5EF4-FFF2-40B4-BE49-F238E27FC236}">
                    <a16:creationId xmlns:a16="http://schemas.microsoft.com/office/drawing/2014/main" id="{816C08C8-4224-43E5-AD58-17EC657AEEE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2" name="Motion design">
                <a:extLst>
                  <a:ext uri="{FF2B5EF4-FFF2-40B4-BE49-F238E27FC236}">
                    <a16:creationId xmlns:a16="http://schemas.microsoft.com/office/drawing/2014/main" id="{542287C3-CD71-4350-8BD6-CAC28C234816}"/>
                  </a:ext>
                </a:extLst>
              </p:cNvPr>
              <p:cNvSpPr txBox="1"/>
              <p:nvPr/>
            </p:nvSpPr>
            <p:spPr>
              <a:xfrm>
                <a:off x="7434557" y="1468324"/>
                <a:ext cx="4016947" cy="89995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пределенные вычисления</a:t>
                </a:r>
              </a:p>
            </p:txBody>
          </p:sp>
          <p:sp>
            <p:nvSpPr>
              <p:cNvPr id="373" name="Circle">
                <a:extLst>
                  <a:ext uri="{FF2B5EF4-FFF2-40B4-BE49-F238E27FC236}">
                    <a16:creationId xmlns:a16="http://schemas.microsoft.com/office/drawing/2014/main" id="{0F160C5E-6E58-42E0-8DEB-AC8FDB4C6D2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75" name="Группа 374">
              <a:extLst>
                <a:ext uri="{FF2B5EF4-FFF2-40B4-BE49-F238E27FC236}">
                  <a16:creationId xmlns:a16="http://schemas.microsoft.com/office/drawing/2014/main" id="{CD877F1C-083F-47E7-8E8C-70D5E937F719}"/>
                </a:ext>
              </a:extLst>
            </p:cNvPr>
            <p:cNvGrpSpPr/>
            <p:nvPr/>
          </p:nvGrpSpPr>
          <p:grpSpPr>
            <a:xfrm>
              <a:off x="20855623" y="3920096"/>
              <a:ext cx="2203175" cy="377702"/>
              <a:chOff x="6510195" y="1556711"/>
              <a:chExt cx="4941309" cy="847113"/>
            </a:xfrm>
          </p:grpSpPr>
          <p:sp>
            <p:nvSpPr>
              <p:cNvPr id="376" name="Rounded Rectangle">
                <a:extLst>
                  <a:ext uri="{FF2B5EF4-FFF2-40B4-BE49-F238E27FC236}">
                    <a16:creationId xmlns:a16="http://schemas.microsoft.com/office/drawing/2014/main" id="{B197909D-86CE-4776-B439-FA8092D64C4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77" name="Motion design">
                <a:extLst>
                  <a:ext uri="{FF2B5EF4-FFF2-40B4-BE49-F238E27FC236}">
                    <a16:creationId xmlns:a16="http://schemas.microsoft.com/office/drawing/2014/main" id="{4C989649-0585-463F-BAFF-76C260C7DE59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внутри экосистемы</a:t>
                </a:r>
              </a:p>
            </p:txBody>
          </p:sp>
          <p:sp>
            <p:nvSpPr>
              <p:cNvPr id="378" name="Circle">
                <a:extLst>
                  <a:ext uri="{FF2B5EF4-FFF2-40B4-BE49-F238E27FC236}">
                    <a16:creationId xmlns:a16="http://schemas.microsoft.com/office/drawing/2014/main" id="{9F2F0D6E-1BD5-43FD-B322-98AA56CCA932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380" name="Группа 379">
              <a:extLst>
                <a:ext uri="{FF2B5EF4-FFF2-40B4-BE49-F238E27FC236}">
                  <a16:creationId xmlns:a16="http://schemas.microsoft.com/office/drawing/2014/main" id="{165E1C6D-5168-4FAA-8105-FEB630DE5FA1}"/>
                </a:ext>
              </a:extLst>
            </p:cNvPr>
            <p:cNvGrpSpPr/>
            <p:nvPr/>
          </p:nvGrpSpPr>
          <p:grpSpPr>
            <a:xfrm>
              <a:off x="20855623" y="4387314"/>
              <a:ext cx="2203175" cy="377702"/>
              <a:chOff x="6510195" y="1556711"/>
              <a:chExt cx="4941309" cy="847113"/>
            </a:xfrm>
          </p:grpSpPr>
          <p:sp>
            <p:nvSpPr>
              <p:cNvPr id="381" name="Rounded Rectangle">
                <a:extLst>
                  <a:ext uri="{FF2B5EF4-FFF2-40B4-BE49-F238E27FC236}">
                    <a16:creationId xmlns:a16="http://schemas.microsoft.com/office/drawing/2014/main" id="{C8720C13-3663-4B3D-A8E2-C2393C3F873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941309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82" name="Motion design">
                <a:extLst>
                  <a:ext uri="{FF2B5EF4-FFF2-40B4-BE49-F238E27FC236}">
                    <a16:creationId xmlns:a16="http://schemas.microsoft.com/office/drawing/2014/main" id="{8F55FFAA-D876-4CF0-8977-DB3E71C33801}"/>
                  </a:ext>
                </a:extLst>
              </p:cNvPr>
              <p:cNvSpPr txBox="1"/>
              <p:nvPr/>
            </p:nvSpPr>
            <p:spPr>
              <a:xfrm>
                <a:off x="7434557" y="1703884"/>
                <a:ext cx="4016947" cy="42883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05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мен между компаниями</a:t>
                </a:r>
              </a:p>
            </p:txBody>
          </p:sp>
          <p:sp>
            <p:nvSpPr>
              <p:cNvPr id="383" name="Circle">
                <a:extLst>
                  <a:ext uri="{FF2B5EF4-FFF2-40B4-BE49-F238E27FC236}">
                    <a16:creationId xmlns:a16="http://schemas.microsoft.com/office/drawing/2014/main" id="{065F4A73-F0FA-4A01-ADFE-38B555682C67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</p:grpSp>
      <p:grpSp>
        <p:nvGrpSpPr>
          <p:cNvPr id="132" name="Группа 131">
            <a:extLst>
              <a:ext uri="{FF2B5EF4-FFF2-40B4-BE49-F238E27FC236}">
                <a16:creationId xmlns:a16="http://schemas.microsoft.com/office/drawing/2014/main" id="{6DF58270-590D-4D44-8CDD-8B0F73D462D9}"/>
              </a:ext>
            </a:extLst>
          </p:cNvPr>
          <p:cNvGrpSpPr/>
          <p:nvPr/>
        </p:nvGrpSpPr>
        <p:grpSpPr>
          <a:xfrm>
            <a:off x="-2355936" y="2330663"/>
            <a:ext cx="1798435" cy="1842895"/>
            <a:chOff x="4828309" y="2330663"/>
            <a:chExt cx="1798435" cy="1842895"/>
          </a:xfrm>
        </p:grpSpPr>
        <p:sp>
          <p:nvSpPr>
            <p:cNvPr id="133" name="Freeform 17">
              <a:extLst>
                <a:ext uri="{FF2B5EF4-FFF2-40B4-BE49-F238E27FC236}">
                  <a16:creationId xmlns:a16="http://schemas.microsoft.com/office/drawing/2014/main" id="{3104051E-536F-48D4-95D3-AD921AF1A36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4" name="Freeform 18">
              <a:extLst>
                <a:ext uri="{FF2B5EF4-FFF2-40B4-BE49-F238E27FC236}">
                  <a16:creationId xmlns:a16="http://schemas.microsoft.com/office/drawing/2014/main" id="{08A93D63-0FC9-425F-B657-58665BBEEBA4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36" name="Группа 135">
            <a:extLst>
              <a:ext uri="{FF2B5EF4-FFF2-40B4-BE49-F238E27FC236}">
                <a16:creationId xmlns:a16="http://schemas.microsoft.com/office/drawing/2014/main" id="{D8FE4DC9-482C-4044-B605-0E0070393CF4}"/>
              </a:ext>
            </a:extLst>
          </p:cNvPr>
          <p:cNvGrpSpPr/>
          <p:nvPr/>
        </p:nvGrpSpPr>
        <p:grpSpPr>
          <a:xfrm>
            <a:off x="-6996503" y="1843788"/>
            <a:ext cx="4374910" cy="3703572"/>
            <a:chOff x="256506" y="1843788"/>
            <a:chExt cx="4374910" cy="3703572"/>
          </a:xfrm>
        </p:grpSpPr>
        <p:sp>
          <p:nvSpPr>
            <p:cNvPr id="137" name="Описание">
              <a:extLst>
                <a:ext uri="{FF2B5EF4-FFF2-40B4-BE49-F238E27FC236}">
                  <a16:creationId xmlns:a16="http://schemas.microsoft.com/office/drawing/2014/main" id="{35D9ACA2-913F-4FAB-9744-C184E01A03CA}"/>
                </a:ext>
              </a:extLst>
            </p:cNvPr>
            <p:cNvSpPr txBox="1"/>
            <p:nvPr/>
          </p:nvSpPr>
          <p:spPr>
            <a:xfrm>
              <a:off x="238790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38" name="Shape_фон">
              <a:extLst>
                <a:ext uri="{FF2B5EF4-FFF2-40B4-BE49-F238E27FC236}">
                  <a16:creationId xmlns:a16="http://schemas.microsoft.com/office/drawing/2014/main" id="{4859D07C-2444-4852-BDDF-67B31F197BED}"/>
                </a:ext>
              </a:extLst>
            </p:cNvPr>
            <p:cNvSpPr/>
            <p:nvPr/>
          </p:nvSpPr>
          <p:spPr>
            <a:xfrm>
              <a:off x="256506" y="2166638"/>
              <a:ext cx="4374910" cy="33807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39" name="Группа 138">
              <a:extLst>
                <a:ext uri="{FF2B5EF4-FFF2-40B4-BE49-F238E27FC236}">
                  <a16:creationId xmlns:a16="http://schemas.microsoft.com/office/drawing/2014/main" id="{75297D5F-46AE-48F3-9E3C-019720DBC5E0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161" name="Rounded Rectangle">
                <a:extLst>
                  <a:ext uri="{FF2B5EF4-FFF2-40B4-BE49-F238E27FC236}">
                    <a16:creationId xmlns:a16="http://schemas.microsoft.com/office/drawing/2014/main" id="{11BA8B08-5D8D-4464-A990-B3B413A004D3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62" name="Motion design">
                <a:extLst>
                  <a:ext uri="{FF2B5EF4-FFF2-40B4-BE49-F238E27FC236}">
                    <a16:creationId xmlns:a16="http://schemas.microsoft.com/office/drawing/2014/main" id="{5B328F77-1202-4992-A1D2-540AC5B36069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73" name="Circle">
                <a:extLst>
                  <a:ext uri="{FF2B5EF4-FFF2-40B4-BE49-F238E27FC236}">
                    <a16:creationId xmlns:a16="http://schemas.microsoft.com/office/drawing/2014/main" id="{4C5C9E36-F03A-4EA6-A9F0-C6D80779FD07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40" name="Группа 139">
              <a:extLst>
                <a:ext uri="{FF2B5EF4-FFF2-40B4-BE49-F238E27FC236}">
                  <a16:creationId xmlns:a16="http://schemas.microsoft.com/office/drawing/2014/main" id="{7203DB01-7952-4A82-9544-F1E3A9F39AB3}"/>
                </a:ext>
              </a:extLst>
            </p:cNvPr>
            <p:cNvGrpSpPr/>
            <p:nvPr/>
          </p:nvGrpSpPr>
          <p:grpSpPr>
            <a:xfrm>
              <a:off x="548598" y="2679658"/>
              <a:ext cx="3548295" cy="2678634"/>
              <a:chOff x="268350" y="2573493"/>
              <a:chExt cx="3548295" cy="2678634"/>
            </a:xfrm>
          </p:grpSpPr>
          <p:sp>
            <p:nvSpPr>
              <p:cNvPr id="141" name="Описание">
                <a:extLst>
                  <a:ext uri="{FF2B5EF4-FFF2-40B4-BE49-F238E27FC236}">
                    <a16:creationId xmlns:a16="http://schemas.microsoft.com/office/drawing/2014/main" id="{7CBE0C63-CA89-4C51-9063-06AA911C8DA9}"/>
                  </a:ext>
                </a:extLst>
              </p:cNvPr>
              <p:cNvSpPr txBox="1"/>
              <p:nvPr/>
            </p:nvSpPr>
            <p:spPr>
              <a:xfrm>
                <a:off x="268350" y="3005358"/>
                <a:ext cx="3548295" cy="22467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иалтайм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Автоматизация отчетности:</a:t>
                </a:r>
                <a:b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еестр АСВ анкета ПОД/ФТ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чет ценност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дбор предложений и партнеров по геолокаци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ммуникация, обеспечивающая лояльность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огащение профиля клиента данными из экосистемы</a:t>
                </a:r>
              </a:p>
            </p:txBody>
          </p:sp>
          <p:grpSp>
            <p:nvGrpSpPr>
              <p:cNvPr id="142" name="Группа 141">
                <a:extLst>
                  <a:ext uri="{FF2B5EF4-FFF2-40B4-BE49-F238E27FC236}">
                    <a16:creationId xmlns:a16="http://schemas.microsoft.com/office/drawing/2014/main" id="{75F6639E-9842-4C83-AF9C-B7448EC5873F}"/>
                  </a:ext>
                </a:extLst>
              </p:cNvPr>
              <p:cNvGrpSpPr/>
              <p:nvPr/>
            </p:nvGrpSpPr>
            <p:grpSpPr>
              <a:xfrm>
                <a:off x="1317800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154" name="Rounded Rectangle">
                  <a:extLst>
                    <a:ext uri="{FF2B5EF4-FFF2-40B4-BE49-F238E27FC236}">
                      <a16:creationId xmlns:a16="http://schemas.microsoft.com/office/drawing/2014/main" id="{E74762AA-4E8A-4D68-BF58-88B73D3DC43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55" name="Motion design">
                  <a:extLst>
                    <a:ext uri="{FF2B5EF4-FFF2-40B4-BE49-F238E27FC236}">
                      <a16:creationId xmlns:a16="http://schemas.microsoft.com/office/drawing/2014/main" id="{DCC63B28-2B7A-419A-BF74-2C6314B4C110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15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57" name="Circle">
                  <a:extLst>
                    <a:ext uri="{FF2B5EF4-FFF2-40B4-BE49-F238E27FC236}">
                      <a16:creationId xmlns:a16="http://schemas.microsoft.com/office/drawing/2014/main" id="{C63C4DBB-B3CC-41A9-B5DF-27222F648BBA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43" name="Группа 142">
                <a:extLst>
                  <a:ext uri="{FF2B5EF4-FFF2-40B4-BE49-F238E27FC236}">
                    <a16:creationId xmlns:a16="http://schemas.microsoft.com/office/drawing/2014/main" id="{40846848-B280-4221-B778-C1FE94D91AC7}"/>
                  </a:ext>
                </a:extLst>
              </p:cNvPr>
              <p:cNvGrpSpPr/>
              <p:nvPr/>
            </p:nvGrpSpPr>
            <p:grpSpPr>
              <a:xfrm>
                <a:off x="2573576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147" name="Rounded Rectangle">
                  <a:extLst>
                    <a:ext uri="{FF2B5EF4-FFF2-40B4-BE49-F238E27FC236}">
                      <a16:creationId xmlns:a16="http://schemas.microsoft.com/office/drawing/2014/main" id="{2BB27F19-EBDA-42E9-B4A5-50F8945D594E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48" name="Motion design">
                  <a:extLst>
                    <a:ext uri="{FF2B5EF4-FFF2-40B4-BE49-F238E27FC236}">
                      <a16:creationId xmlns:a16="http://schemas.microsoft.com/office/drawing/2014/main" id="{AE2E20F1-72CC-4939-9FDD-D6452AD3C450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3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50" name="Circle">
                  <a:extLst>
                    <a:ext uri="{FF2B5EF4-FFF2-40B4-BE49-F238E27FC236}">
                      <a16:creationId xmlns:a16="http://schemas.microsoft.com/office/drawing/2014/main" id="{82E68D57-6796-41F9-B1EF-4DA85CBC8165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45" name="Прямая соединительная линия 144">
                <a:extLst>
                  <a:ext uri="{FF2B5EF4-FFF2-40B4-BE49-F238E27FC236}">
                    <a16:creationId xmlns:a16="http://schemas.microsoft.com/office/drawing/2014/main" id="{D58D3D5A-F513-4F0D-A763-60D6D624A6D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6" name="Прямая соединительная линия 145">
                <a:extLst>
                  <a:ext uri="{FF2B5EF4-FFF2-40B4-BE49-F238E27FC236}">
                    <a16:creationId xmlns:a16="http://schemas.microsoft.com/office/drawing/2014/main" id="{C1ADB8BC-A584-4B58-85D6-0FC1192F6D4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42072728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23306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13046602" y="23536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7794629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12B9EC8-088F-4202-83F9-86055D3BF314}"/>
              </a:ext>
            </a:extLst>
          </p:cNvPr>
          <p:cNvGrpSpPr/>
          <p:nvPr/>
        </p:nvGrpSpPr>
        <p:grpSpPr>
          <a:xfrm>
            <a:off x="256506" y="1843788"/>
            <a:ext cx="4374910" cy="3703572"/>
            <a:chOff x="256506" y="1843788"/>
            <a:chExt cx="4374910" cy="3703572"/>
          </a:xfrm>
        </p:grpSpPr>
        <p:sp>
          <p:nvSpPr>
            <p:cNvPr id="87" name="Описание">
              <a:extLst>
                <a:ext uri="{FF2B5EF4-FFF2-40B4-BE49-F238E27FC236}">
                  <a16:creationId xmlns:a16="http://schemas.microsoft.com/office/drawing/2014/main" id="{13D1C931-B32F-4F99-9D9C-8CB825B8972F}"/>
                </a:ext>
              </a:extLst>
            </p:cNvPr>
            <p:cNvSpPr txBox="1"/>
            <p:nvPr/>
          </p:nvSpPr>
          <p:spPr>
            <a:xfrm>
              <a:off x="238790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88" name="Shape_фон">
              <a:extLst>
                <a:ext uri="{FF2B5EF4-FFF2-40B4-BE49-F238E27FC236}">
                  <a16:creationId xmlns:a16="http://schemas.microsoft.com/office/drawing/2014/main" id="{462AA18D-AB31-41C7-9CAA-6F873E53BBD6}"/>
                </a:ext>
              </a:extLst>
            </p:cNvPr>
            <p:cNvSpPr/>
            <p:nvPr/>
          </p:nvSpPr>
          <p:spPr>
            <a:xfrm>
              <a:off x="256506" y="2166638"/>
              <a:ext cx="4374910" cy="33807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9" name="Группа 88">
              <a:extLst>
                <a:ext uri="{FF2B5EF4-FFF2-40B4-BE49-F238E27FC236}">
                  <a16:creationId xmlns:a16="http://schemas.microsoft.com/office/drawing/2014/main" id="{C58EE9FF-E70E-43A7-92FC-548F614A82E7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90" name="Rounded Rectangle">
                <a:extLst>
                  <a:ext uri="{FF2B5EF4-FFF2-40B4-BE49-F238E27FC236}">
                    <a16:creationId xmlns:a16="http://schemas.microsoft.com/office/drawing/2014/main" id="{E488F451-2C8D-4707-AC6B-9B2FF8E8618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91" name="Motion design">
                <a:extLst>
                  <a:ext uri="{FF2B5EF4-FFF2-40B4-BE49-F238E27FC236}">
                    <a16:creationId xmlns:a16="http://schemas.microsoft.com/office/drawing/2014/main" id="{4712008C-C4C3-4A55-A5A3-AE0567522DCC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92" name="Circle">
                <a:extLst>
                  <a:ext uri="{FF2B5EF4-FFF2-40B4-BE49-F238E27FC236}">
                    <a16:creationId xmlns:a16="http://schemas.microsoft.com/office/drawing/2014/main" id="{1A6384F3-9990-4A1D-B800-3B6D2FB1861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A09A30DB-9C7A-4837-8692-E6DCC6BD6A6E}"/>
                </a:ext>
              </a:extLst>
            </p:cNvPr>
            <p:cNvGrpSpPr/>
            <p:nvPr/>
          </p:nvGrpSpPr>
          <p:grpSpPr>
            <a:xfrm>
              <a:off x="548598" y="2679658"/>
              <a:ext cx="3548295" cy="2678634"/>
              <a:chOff x="268350" y="2573493"/>
              <a:chExt cx="3548295" cy="2678634"/>
            </a:xfrm>
          </p:grpSpPr>
          <p:sp>
            <p:nvSpPr>
              <p:cNvPr id="94" name="Описание">
                <a:extLst>
                  <a:ext uri="{FF2B5EF4-FFF2-40B4-BE49-F238E27FC236}">
                    <a16:creationId xmlns:a16="http://schemas.microsoft.com/office/drawing/2014/main" id="{C009D4CC-B585-4E0A-8861-BAC68271E494}"/>
                  </a:ext>
                </a:extLst>
              </p:cNvPr>
              <p:cNvSpPr txBox="1"/>
              <p:nvPr/>
            </p:nvSpPr>
            <p:spPr>
              <a:xfrm>
                <a:off x="268350" y="3005358"/>
                <a:ext cx="3548295" cy="22467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иалтайм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14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Автоматизация отчетности:</a:t>
                </a:r>
                <a:b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еестр АСВ анкета ПОД/ФТ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чет ценност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дбор предложений и партнеров по геолокаци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ммуникация, обеспечивающая лояльность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14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огащение профиля клиента данными из экосистемы</a:t>
                </a:r>
              </a:p>
            </p:txBody>
          </p:sp>
          <p:grpSp>
            <p:nvGrpSpPr>
              <p:cNvPr id="95" name="Группа 94">
                <a:extLst>
                  <a:ext uri="{FF2B5EF4-FFF2-40B4-BE49-F238E27FC236}">
                    <a16:creationId xmlns:a16="http://schemas.microsoft.com/office/drawing/2014/main" id="{FA740FB2-DA80-48AC-A4A2-755F2ADD1C85}"/>
                  </a:ext>
                </a:extLst>
              </p:cNvPr>
              <p:cNvGrpSpPr/>
              <p:nvPr/>
            </p:nvGrpSpPr>
            <p:grpSpPr>
              <a:xfrm>
                <a:off x="1317800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96" name="Rounded Rectangle">
                  <a:extLst>
                    <a:ext uri="{FF2B5EF4-FFF2-40B4-BE49-F238E27FC236}">
                      <a16:creationId xmlns:a16="http://schemas.microsoft.com/office/drawing/2014/main" id="{D3F048DC-11E5-4E3D-804A-57010F4CE03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7" name="Motion design">
                  <a:extLst>
                    <a:ext uri="{FF2B5EF4-FFF2-40B4-BE49-F238E27FC236}">
                      <a16:creationId xmlns:a16="http://schemas.microsoft.com/office/drawing/2014/main" id="{F3F8E6FC-7889-4BA0-9304-1CAC3406C0A0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15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99" name="Circle">
                  <a:extLst>
                    <a:ext uri="{FF2B5EF4-FFF2-40B4-BE49-F238E27FC236}">
                      <a16:creationId xmlns:a16="http://schemas.microsoft.com/office/drawing/2014/main" id="{47D45FC8-E78D-4AF5-AF7E-D34546D0DC5C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id="{ACDF4DF9-D297-4045-91C8-D73254B7099E}"/>
                  </a:ext>
                </a:extLst>
              </p:cNvPr>
              <p:cNvGrpSpPr/>
              <p:nvPr/>
            </p:nvGrpSpPr>
            <p:grpSpPr>
              <a:xfrm>
                <a:off x="2573576" y="2573493"/>
                <a:ext cx="1163147" cy="272972"/>
                <a:chOff x="6510195" y="1488675"/>
                <a:chExt cx="4389122" cy="1030055"/>
              </a:xfrm>
            </p:grpSpPr>
            <p:sp>
              <p:nvSpPr>
                <p:cNvPr id="105" name="Rounded Rectangle">
                  <a:extLst>
                    <a:ext uri="{FF2B5EF4-FFF2-40B4-BE49-F238E27FC236}">
                      <a16:creationId xmlns:a16="http://schemas.microsoft.com/office/drawing/2014/main" id="{B39CA848-83A9-4078-82F3-2FF6C61B3CCD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6" name="Motion design">
                  <a:extLst>
                    <a:ext uri="{FF2B5EF4-FFF2-40B4-BE49-F238E27FC236}">
                      <a16:creationId xmlns:a16="http://schemas.microsoft.com/office/drawing/2014/main" id="{E798D504-83C3-4AE5-ADB8-BB83F4084903}"/>
                    </a:ext>
                  </a:extLst>
                </p:cNvPr>
                <p:cNvSpPr txBox="1"/>
                <p:nvPr/>
              </p:nvSpPr>
              <p:spPr>
                <a:xfrm>
                  <a:off x="7097980" y="1488675"/>
                  <a:ext cx="3691419" cy="962019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4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3 сек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7" name="Circle">
                  <a:extLst>
                    <a:ext uri="{FF2B5EF4-FFF2-40B4-BE49-F238E27FC236}">
                      <a16:creationId xmlns:a16="http://schemas.microsoft.com/office/drawing/2014/main" id="{00BF57DF-0535-41D4-B634-B9BDFFCAB5A9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09" name="Прямая соединительная линия 108">
                <a:extLst>
                  <a:ext uri="{FF2B5EF4-FFF2-40B4-BE49-F238E27FC236}">
                    <a16:creationId xmlns:a16="http://schemas.microsoft.com/office/drawing/2014/main" id="{D9FB1C87-470D-4F15-B8DE-5D1BFDEAE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:a16="http://schemas.microsoft.com/office/drawing/2014/main" id="{FD40D7C9-42E4-4B88-BEC7-56559AC4B5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FA21E93E-06EA-4F42-813B-D6D5F1E99516}"/>
              </a:ext>
            </a:extLst>
          </p:cNvPr>
          <p:cNvGrpSpPr/>
          <p:nvPr/>
        </p:nvGrpSpPr>
        <p:grpSpPr>
          <a:xfrm>
            <a:off x="12947801" y="1843788"/>
            <a:ext cx="4374910" cy="2524723"/>
            <a:chOff x="7510156" y="1843788"/>
            <a:chExt cx="4374910" cy="2524723"/>
          </a:xfrm>
        </p:grpSpPr>
        <p:sp>
          <p:nvSpPr>
            <p:cNvPr id="173" name="Описание">
              <a:extLst>
                <a:ext uri="{FF2B5EF4-FFF2-40B4-BE49-F238E27FC236}">
                  <a16:creationId xmlns:a16="http://schemas.microsoft.com/office/drawing/2014/main" id="{1AC620DD-884F-4A55-8D39-C169CD0D0F61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74" name="Shape_фон">
              <a:extLst>
                <a:ext uri="{FF2B5EF4-FFF2-40B4-BE49-F238E27FC236}">
                  <a16:creationId xmlns:a16="http://schemas.microsoft.com/office/drawing/2014/main" id="{55CE00B1-B275-4377-8335-2D48AE236DDA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8" name="Rounded Rectangle">
              <a:extLst>
                <a:ext uri="{FF2B5EF4-FFF2-40B4-BE49-F238E27FC236}">
                  <a16:creationId xmlns:a16="http://schemas.microsoft.com/office/drawing/2014/main" id="{78D7E6B5-CBEE-4670-8899-9B47E1A50092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9" name="Motion design">
              <a:extLst>
                <a:ext uri="{FF2B5EF4-FFF2-40B4-BE49-F238E27FC236}">
                  <a16:creationId xmlns:a16="http://schemas.microsoft.com/office/drawing/2014/main" id="{3211471C-BBAE-4998-81B7-634C03CF5298}"/>
                </a:ext>
              </a:extLst>
            </p:cNvPr>
            <p:cNvSpPr txBox="1"/>
            <p:nvPr/>
          </p:nvSpPr>
          <p:spPr>
            <a:xfrm>
              <a:off x="8622584" y="1976470"/>
              <a:ext cx="2087579" cy="3683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90" name="Circle">
              <a:extLst>
                <a:ext uri="{FF2B5EF4-FFF2-40B4-BE49-F238E27FC236}">
                  <a16:creationId xmlns:a16="http://schemas.microsoft.com/office/drawing/2014/main" id="{B00C36FD-12CC-4B17-B92F-434BB34C144F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7" name="Описание">
              <a:extLst>
                <a:ext uri="{FF2B5EF4-FFF2-40B4-BE49-F238E27FC236}">
                  <a16:creationId xmlns:a16="http://schemas.microsoft.com/office/drawing/2014/main" id="{30A26532-CEB0-4F5B-B0E6-8DD535C17DAE}"/>
                </a:ext>
              </a:extLst>
            </p:cNvPr>
            <p:cNvSpPr txBox="1"/>
            <p:nvPr/>
          </p:nvSpPr>
          <p:spPr>
            <a:xfrm>
              <a:off x="8111283" y="2667376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остоянная актуализация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 err="1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Дашборды</a:t>
              </a: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 для управления качеством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клиентски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безлич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естовый стенд под ключ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F8192D2-FEF5-4996-8216-C49F682F0DD5}"/>
              </a:ext>
            </a:extLst>
          </p:cNvPr>
          <p:cNvGrpSpPr/>
          <p:nvPr/>
        </p:nvGrpSpPr>
        <p:grpSpPr>
          <a:xfrm>
            <a:off x="3908545" y="7604826"/>
            <a:ext cx="4374910" cy="2524723"/>
            <a:chOff x="4277669" y="5358292"/>
            <a:chExt cx="4374910" cy="2524723"/>
          </a:xfrm>
        </p:grpSpPr>
        <p:sp>
          <p:nvSpPr>
            <p:cNvPr id="193" name="Описание">
              <a:extLst>
                <a:ext uri="{FF2B5EF4-FFF2-40B4-BE49-F238E27FC236}">
                  <a16:creationId xmlns:a16="http://schemas.microsoft.com/office/drawing/2014/main" id="{E110CD1F-A4D9-4C0D-8EE7-53FA6C6B7EF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94" name="Shape_фон">
              <a:extLst>
                <a:ext uri="{FF2B5EF4-FFF2-40B4-BE49-F238E27FC236}">
                  <a16:creationId xmlns:a16="http://schemas.microsoft.com/office/drawing/2014/main" id="{0DCED50D-620E-4072-B3F7-C41A04B9BC0E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093AB91-3F04-462B-A1CA-1BCD506FD2C9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3247C67B-EB3C-46A3-9FE1-0982259016F0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1EB54B95-3550-446E-B10B-2CC4023073B4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158CB3BB-0CC5-4BBF-AC3C-31709FC7423C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Описание">
              <a:extLst>
                <a:ext uri="{FF2B5EF4-FFF2-40B4-BE49-F238E27FC236}">
                  <a16:creationId xmlns:a16="http://schemas.microsoft.com/office/drawing/2014/main" id="{FAA7B90B-C98C-477A-AAB0-1F39821D29B5}"/>
                </a:ext>
              </a:extLst>
            </p:cNvPr>
            <p:cNvSpPr txBox="1"/>
            <p:nvPr/>
          </p:nvSpPr>
          <p:spPr>
            <a:xfrm>
              <a:off x="4835856" y="6114687"/>
              <a:ext cx="3548295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елевантные предложения в ожидаемых каналах коммуникации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Быстрое обслуж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Комплексные услуги от экосистемы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Учет предпочтений</a:t>
              </a:r>
            </a:p>
          </p:txBody>
        </p:sp>
      </p:grpSp>
      <p:sp>
        <p:nvSpPr>
          <p:cNvPr id="65" name="Заголовок">
            <a:extLst>
              <a:ext uri="{FF2B5EF4-FFF2-40B4-BE49-F238E27FC236}">
                <a16:creationId xmlns:a16="http://schemas.microsoft.com/office/drawing/2014/main" id="{B272CE3B-DCBF-4B71-B7E6-0D258A4097F4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66" name="Таймлайн">
            <a:extLst>
              <a:ext uri="{FF2B5EF4-FFF2-40B4-BE49-F238E27FC236}">
                <a16:creationId xmlns:a16="http://schemas.microsoft.com/office/drawing/2014/main" id="{700214AC-592D-42DC-9A26-8607A427BD09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D446CD2F-C788-4BB9-8AD8-AEE477F72A25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C3955375-1906-4228-B249-C24FAD5AB8FB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>
            <a:extLst>
              <a:ext uri="{FF2B5EF4-FFF2-40B4-BE49-F238E27FC236}">
                <a16:creationId xmlns:a16="http://schemas.microsoft.com/office/drawing/2014/main" id="{5A2F1F11-2EDC-4201-8A01-4BD73DDD861E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Прямая соединительная линия 70">
            <a:extLst>
              <a:ext uri="{FF2B5EF4-FFF2-40B4-BE49-F238E27FC236}">
                <a16:creationId xmlns:a16="http://schemas.microsoft.com/office/drawing/2014/main" id="{514ECA99-28B8-4B10-B3D2-8B50CD9D664A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oup 2048">
            <a:extLst>
              <a:ext uri="{FF2B5EF4-FFF2-40B4-BE49-F238E27FC236}">
                <a16:creationId xmlns:a16="http://schemas.microsoft.com/office/drawing/2014/main" id="{3E71413B-1FFB-4B4F-A54E-3E8914474A76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73" name="Freeform 23">
              <a:extLst>
                <a:ext uri="{FF2B5EF4-FFF2-40B4-BE49-F238E27FC236}">
                  <a16:creationId xmlns:a16="http://schemas.microsoft.com/office/drawing/2014/main" id="{C040D83B-4260-4880-9C00-CA6ABED1180B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74" name="Freeform 24">
              <a:extLst>
                <a:ext uri="{FF2B5EF4-FFF2-40B4-BE49-F238E27FC236}">
                  <a16:creationId xmlns:a16="http://schemas.microsoft.com/office/drawing/2014/main" id="{FB37CE1E-176B-41DD-9DAE-29EA1D460B21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369297424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23306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5353106" y="23536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7731886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12B9EC8-088F-4202-83F9-86055D3BF314}"/>
              </a:ext>
            </a:extLst>
          </p:cNvPr>
          <p:cNvGrpSpPr/>
          <p:nvPr/>
        </p:nvGrpSpPr>
        <p:grpSpPr>
          <a:xfrm>
            <a:off x="1203436" y="2161268"/>
            <a:ext cx="3076949" cy="2604786"/>
            <a:chOff x="256507" y="1843787"/>
            <a:chExt cx="4374911" cy="3703570"/>
          </a:xfrm>
        </p:grpSpPr>
        <p:sp>
          <p:nvSpPr>
            <p:cNvPr id="87" name="Описание">
              <a:extLst>
                <a:ext uri="{FF2B5EF4-FFF2-40B4-BE49-F238E27FC236}">
                  <a16:creationId xmlns:a16="http://schemas.microsoft.com/office/drawing/2014/main" id="{13D1C931-B32F-4F99-9D9C-8CB825B8972F}"/>
                </a:ext>
              </a:extLst>
            </p:cNvPr>
            <p:cNvSpPr txBox="1"/>
            <p:nvPr/>
          </p:nvSpPr>
          <p:spPr>
            <a:xfrm>
              <a:off x="238790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88" name="Shape_фон">
              <a:extLst>
                <a:ext uri="{FF2B5EF4-FFF2-40B4-BE49-F238E27FC236}">
                  <a16:creationId xmlns:a16="http://schemas.microsoft.com/office/drawing/2014/main" id="{462AA18D-AB31-41C7-9CAA-6F873E53BBD6}"/>
                </a:ext>
              </a:extLst>
            </p:cNvPr>
            <p:cNvSpPr/>
            <p:nvPr/>
          </p:nvSpPr>
          <p:spPr>
            <a:xfrm>
              <a:off x="256506" y="2166638"/>
              <a:ext cx="4374910" cy="33807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9" name="Группа 88">
              <a:extLst>
                <a:ext uri="{FF2B5EF4-FFF2-40B4-BE49-F238E27FC236}">
                  <a16:creationId xmlns:a16="http://schemas.microsoft.com/office/drawing/2014/main" id="{C58EE9FF-E70E-43A7-92FC-548F614A82E7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90" name="Rounded Rectangle">
                <a:extLst>
                  <a:ext uri="{FF2B5EF4-FFF2-40B4-BE49-F238E27FC236}">
                    <a16:creationId xmlns:a16="http://schemas.microsoft.com/office/drawing/2014/main" id="{E488F451-2C8D-4707-AC6B-9B2FF8E8618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91" name="Motion design">
                <a:extLst>
                  <a:ext uri="{FF2B5EF4-FFF2-40B4-BE49-F238E27FC236}">
                    <a16:creationId xmlns:a16="http://schemas.microsoft.com/office/drawing/2014/main" id="{4712008C-C4C3-4A55-A5A3-AE0567522DCC}"/>
                  </a:ext>
                </a:extLst>
              </p:cNvPr>
              <p:cNvSpPr txBox="1"/>
              <p:nvPr/>
            </p:nvSpPr>
            <p:spPr>
              <a:xfrm>
                <a:off x="7232365" y="1785599"/>
                <a:ext cx="2738755" cy="373648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92" name="Circle">
                <a:extLst>
                  <a:ext uri="{FF2B5EF4-FFF2-40B4-BE49-F238E27FC236}">
                    <a16:creationId xmlns:a16="http://schemas.microsoft.com/office/drawing/2014/main" id="{1A6384F3-9990-4A1D-B800-3B6D2FB1861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A09A30DB-9C7A-4837-8692-E6DCC6BD6A6E}"/>
                </a:ext>
              </a:extLst>
            </p:cNvPr>
            <p:cNvGrpSpPr/>
            <p:nvPr/>
          </p:nvGrpSpPr>
          <p:grpSpPr>
            <a:xfrm>
              <a:off x="548598" y="2690616"/>
              <a:ext cx="3548295" cy="2521422"/>
              <a:chOff x="268350" y="2584451"/>
              <a:chExt cx="3548295" cy="2521422"/>
            </a:xfrm>
          </p:grpSpPr>
          <p:sp>
            <p:nvSpPr>
              <p:cNvPr id="94" name="Описание">
                <a:extLst>
                  <a:ext uri="{FF2B5EF4-FFF2-40B4-BE49-F238E27FC236}">
                    <a16:creationId xmlns:a16="http://schemas.microsoft.com/office/drawing/2014/main" id="{C009D4CC-B585-4E0A-8861-BAC68271E494}"/>
                  </a:ext>
                </a:extLst>
              </p:cNvPr>
              <p:cNvSpPr txBox="1"/>
              <p:nvPr/>
            </p:nvSpPr>
            <p:spPr>
              <a:xfrm>
                <a:off x="268350" y="3005358"/>
                <a:ext cx="3548295" cy="2100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иалтайм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Автоматизация отчетности:</a:t>
                </a:r>
                <a:b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еестр АСВ анкета ПОД/ФТ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чет ценност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дбор предложений и партнеров по геолокаци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ммуникация, обеспечивающая лояльность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огащение профиля клиента данными из экосистемы</a:t>
                </a:r>
              </a:p>
            </p:txBody>
          </p:sp>
          <p:grpSp>
            <p:nvGrpSpPr>
              <p:cNvPr id="95" name="Группа 94">
                <a:extLst>
                  <a:ext uri="{FF2B5EF4-FFF2-40B4-BE49-F238E27FC236}">
                    <a16:creationId xmlns:a16="http://schemas.microsoft.com/office/drawing/2014/main" id="{FA740FB2-DA80-48AC-A4A2-755F2ADD1C85}"/>
                  </a:ext>
                </a:extLst>
              </p:cNvPr>
              <p:cNvGrpSpPr/>
              <p:nvPr/>
            </p:nvGrpSpPr>
            <p:grpSpPr>
              <a:xfrm>
                <a:off x="1317800" y="2584451"/>
                <a:ext cx="1163147" cy="262015"/>
                <a:chOff x="6510195" y="1530021"/>
                <a:chExt cx="4389122" cy="988709"/>
              </a:xfrm>
            </p:grpSpPr>
            <p:sp>
              <p:nvSpPr>
                <p:cNvPr id="96" name="Rounded Rectangle">
                  <a:extLst>
                    <a:ext uri="{FF2B5EF4-FFF2-40B4-BE49-F238E27FC236}">
                      <a16:creationId xmlns:a16="http://schemas.microsoft.com/office/drawing/2014/main" id="{D3F048DC-11E5-4E3D-804A-57010F4CE03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7" name="Motion design">
                  <a:extLst>
                    <a:ext uri="{FF2B5EF4-FFF2-40B4-BE49-F238E27FC236}">
                      <a16:creationId xmlns:a16="http://schemas.microsoft.com/office/drawing/2014/main" id="{F3F8E6FC-7889-4BA0-9304-1CAC3406C0A0}"/>
                    </a:ext>
                  </a:extLst>
                </p:cNvPr>
                <p:cNvSpPr txBox="1"/>
                <p:nvPr/>
              </p:nvSpPr>
              <p:spPr>
                <a:xfrm>
                  <a:off x="7097982" y="1530021"/>
                  <a:ext cx="3691422" cy="87931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15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99" name="Circle">
                  <a:extLst>
                    <a:ext uri="{FF2B5EF4-FFF2-40B4-BE49-F238E27FC236}">
                      <a16:creationId xmlns:a16="http://schemas.microsoft.com/office/drawing/2014/main" id="{47D45FC8-E78D-4AF5-AF7E-D34546D0DC5C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id="{ACDF4DF9-D297-4045-91C8-D73254B7099E}"/>
                  </a:ext>
                </a:extLst>
              </p:cNvPr>
              <p:cNvGrpSpPr/>
              <p:nvPr/>
            </p:nvGrpSpPr>
            <p:grpSpPr>
              <a:xfrm>
                <a:off x="2573576" y="2584451"/>
                <a:ext cx="1163147" cy="262015"/>
                <a:chOff x="6510195" y="1530021"/>
                <a:chExt cx="4389122" cy="988709"/>
              </a:xfrm>
            </p:grpSpPr>
            <p:sp>
              <p:nvSpPr>
                <p:cNvPr id="105" name="Rounded Rectangle">
                  <a:extLst>
                    <a:ext uri="{FF2B5EF4-FFF2-40B4-BE49-F238E27FC236}">
                      <a16:creationId xmlns:a16="http://schemas.microsoft.com/office/drawing/2014/main" id="{B39CA848-83A9-4078-82F3-2FF6C61B3CCD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6" name="Motion design">
                  <a:extLst>
                    <a:ext uri="{FF2B5EF4-FFF2-40B4-BE49-F238E27FC236}">
                      <a16:creationId xmlns:a16="http://schemas.microsoft.com/office/drawing/2014/main" id="{E798D504-83C3-4AE5-ADB8-BB83F4084903}"/>
                    </a:ext>
                  </a:extLst>
                </p:cNvPr>
                <p:cNvSpPr txBox="1"/>
                <p:nvPr/>
              </p:nvSpPr>
              <p:spPr>
                <a:xfrm>
                  <a:off x="7097982" y="1530021"/>
                  <a:ext cx="3691422" cy="87931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3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7" name="Circle">
                  <a:extLst>
                    <a:ext uri="{FF2B5EF4-FFF2-40B4-BE49-F238E27FC236}">
                      <a16:creationId xmlns:a16="http://schemas.microsoft.com/office/drawing/2014/main" id="{00BF57DF-0535-41D4-B634-B9BDFFCAB5A9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09" name="Прямая соединительная линия 108">
                <a:extLst>
                  <a:ext uri="{FF2B5EF4-FFF2-40B4-BE49-F238E27FC236}">
                    <a16:creationId xmlns:a16="http://schemas.microsoft.com/office/drawing/2014/main" id="{D9FB1C87-470D-4F15-B8DE-5D1BFDEAE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:a16="http://schemas.microsoft.com/office/drawing/2014/main" id="{FD40D7C9-42E4-4B88-BEC7-56559AC4B5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1F8192D2-FEF5-4996-8216-C49F682F0DD5}"/>
              </a:ext>
            </a:extLst>
          </p:cNvPr>
          <p:cNvGrpSpPr/>
          <p:nvPr/>
        </p:nvGrpSpPr>
        <p:grpSpPr>
          <a:xfrm>
            <a:off x="3908545" y="7409036"/>
            <a:ext cx="4374910" cy="2524723"/>
            <a:chOff x="4277669" y="5358292"/>
            <a:chExt cx="4374910" cy="2524723"/>
          </a:xfrm>
        </p:grpSpPr>
        <p:sp>
          <p:nvSpPr>
            <p:cNvPr id="193" name="Описание">
              <a:extLst>
                <a:ext uri="{FF2B5EF4-FFF2-40B4-BE49-F238E27FC236}">
                  <a16:creationId xmlns:a16="http://schemas.microsoft.com/office/drawing/2014/main" id="{E110CD1F-A4D9-4C0D-8EE7-53FA6C6B7EF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194" name="Shape_фон">
              <a:extLst>
                <a:ext uri="{FF2B5EF4-FFF2-40B4-BE49-F238E27FC236}">
                  <a16:creationId xmlns:a16="http://schemas.microsoft.com/office/drawing/2014/main" id="{0DCED50D-620E-4072-B3F7-C41A04B9BC0E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7093AB91-3F04-462B-A1CA-1BCD506FD2C9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195" name="Rounded Rectangle">
                <a:extLst>
                  <a:ext uri="{FF2B5EF4-FFF2-40B4-BE49-F238E27FC236}">
                    <a16:creationId xmlns:a16="http://schemas.microsoft.com/office/drawing/2014/main" id="{3247C67B-EB3C-46A3-9FE1-0982259016F0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96" name="Motion design">
                <a:extLst>
                  <a:ext uri="{FF2B5EF4-FFF2-40B4-BE49-F238E27FC236}">
                    <a16:creationId xmlns:a16="http://schemas.microsoft.com/office/drawing/2014/main" id="{1EB54B95-3550-446E-B10B-2CC4023073B4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97" name="Circle">
                <a:extLst>
                  <a:ext uri="{FF2B5EF4-FFF2-40B4-BE49-F238E27FC236}">
                    <a16:creationId xmlns:a16="http://schemas.microsoft.com/office/drawing/2014/main" id="{158CB3BB-0CC5-4BBF-AC3C-31709FC7423C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99" name="Описание">
              <a:extLst>
                <a:ext uri="{FF2B5EF4-FFF2-40B4-BE49-F238E27FC236}">
                  <a16:creationId xmlns:a16="http://schemas.microsoft.com/office/drawing/2014/main" id="{FAA7B90B-C98C-477A-AAB0-1F39821D29B5}"/>
                </a:ext>
              </a:extLst>
            </p:cNvPr>
            <p:cNvSpPr txBox="1"/>
            <p:nvPr/>
          </p:nvSpPr>
          <p:spPr>
            <a:xfrm>
              <a:off x="4690976" y="6206798"/>
              <a:ext cx="383483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елевантные предложения</a:t>
              </a:r>
              <a:b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</a:b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 ожидаемых каналах коммуникации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Быстрое обслуж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Комплексные услуги от экосистемы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Учет предпочтений</a:t>
              </a:r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10E5C674-F3B6-4CC7-AC60-4917FDB75330}"/>
              </a:ext>
            </a:extLst>
          </p:cNvPr>
          <p:cNvGrpSpPr/>
          <p:nvPr/>
        </p:nvGrpSpPr>
        <p:grpSpPr>
          <a:xfrm>
            <a:off x="7594725" y="2184135"/>
            <a:ext cx="4374910" cy="2524723"/>
            <a:chOff x="7510156" y="1843788"/>
            <a:chExt cx="4374910" cy="2524723"/>
          </a:xfrm>
        </p:grpSpPr>
        <p:sp>
          <p:nvSpPr>
            <p:cNvPr id="67" name="Описание">
              <a:extLst>
                <a:ext uri="{FF2B5EF4-FFF2-40B4-BE49-F238E27FC236}">
                  <a16:creationId xmlns:a16="http://schemas.microsoft.com/office/drawing/2014/main" id="{D93D8B21-B367-40D5-BFC4-D949CE1ACF97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68" name="Shape_фон">
              <a:extLst>
                <a:ext uri="{FF2B5EF4-FFF2-40B4-BE49-F238E27FC236}">
                  <a16:creationId xmlns:a16="http://schemas.microsoft.com/office/drawing/2014/main" id="{700CB003-3D54-453F-9687-086C564A2F43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9" name="Rounded Rectangle">
              <a:extLst>
                <a:ext uri="{FF2B5EF4-FFF2-40B4-BE49-F238E27FC236}">
                  <a16:creationId xmlns:a16="http://schemas.microsoft.com/office/drawing/2014/main" id="{583550CA-67CA-4938-8692-1C71A29F95D5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" name="Motion design">
              <a:extLst>
                <a:ext uri="{FF2B5EF4-FFF2-40B4-BE49-F238E27FC236}">
                  <a16:creationId xmlns:a16="http://schemas.microsoft.com/office/drawing/2014/main" id="{2BBE1A16-050D-422D-AC0C-604659B76DDD}"/>
                </a:ext>
              </a:extLst>
            </p:cNvPr>
            <p:cNvSpPr txBox="1"/>
            <p:nvPr/>
          </p:nvSpPr>
          <p:spPr>
            <a:xfrm>
              <a:off x="8622584" y="1976470"/>
              <a:ext cx="2087579" cy="368384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20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72" name="Circle">
              <a:extLst>
                <a:ext uri="{FF2B5EF4-FFF2-40B4-BE49-F238E27FC236}">
                  <a16:creationId xmlns:a16="http://schemas.microsoft.com/office/drawing/2014/main" id="{7626B8CB-AC28-4F3A-B267-852B1FFC9A0E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3" name="Описание">
              <a:extLst>
                <a:ext uri="{FF2B5EF4-FFF2-40B4-BE49-F238E27FC236}">
                  <a16:creationId xmlns:a16="http://schemas.microsoft.com/office/drawing/2014/main" id="{7733F61C-E014-4DE3-97A0-9CA188927ABF}"/>
                </a:ext>
              </a:extLst>
            </p:cNvPr>
            <p:cNvSpPr txBox="1"/>
            <p:nvPr/>
          </p:nvSpPr>
          <p:spPr>
            <a:xfrm>
              <a:off x="8111283" y="2667376"/>
              <a:ext cx="3548295" cy="138499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остоянная актуализация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 err="1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Дашборды</a:t>
              </a: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 для управления качеством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клиентски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безлич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естовый стенд под ключ</a:t>
              </a:r>
            </a:p>
          </p:txBody>
        </p:sp>
      </p:grpSp>
      <p:sp>
        <p:nvSpPr>
          <p:cNvPr id="74" name="Заголовок">
            <a:extLst>
              <a:ext uri="{FF2B5EF4-FFF2-40B4-BE49-F238E27FC236}">
                <a16:creationId xmlns:a16="http://schemas.microsoft.com/office/drawing/2014/main" id="{B8CE9016-0786-4BEB-AA0E-9E6DCBCF72FB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75" name="Таймлайн">
            <a:extLst>
              <a:ext uri="{FF2B5EF4-FFF2-40B4-BE49-F238E27FC236}">
                <a16:creationId xmlns:a16="http://schemas.microsoft.com/office/drawing/2014/main" id="{243FF4C6-910E-4127-A842-921A00749817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6799CA48-3867-46E9-9D08-53BD34047DCF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>
            <a:extLst>
              <a:ext uri="{FF2B5EF4-FFF2-40B4-BE49-F238E27FC236}">
                <a16:creationId xmlns:a16="http://schemas.microsoft.com/office/drawing/2014/main" id="{468F7EBB-D013-482B-AE15-8849CF70B613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>
            <a:extLst>
              <a:ext uri="{FF2B5EF4-FFF2-40B4-BE49-F238E27FC236}">
                <a16:creationId xmlns:a16="http://schemas.microsoft.com/office/drawing/2014/main" id="{F93158B1-CD18-427E-9549-5D4AF7BDCED4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DB70B7C2-0BC1-4B7F-AF22-2630658C6EEE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1" name="Group 2048">
            <a:extLst>
              <a:ext uri="{FF2B5EF4-FFF2-40B4-BE49-F238E27FC236}">
                <a16:creationId xmlns:a16="http://schemas.microsoft.com/office/drawing/2014/main" id="{941FDD2E-BBFD-44C2-8309-6F80890112F9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102" name="Freeform 23">
              <a:extLst>
                <a:ext uri="{FF2B5EF4-FFF2-40B4-BE49-F238E27FC236}">
                  <a16:creationId xmlns:a16="http://schemas.microsoft.com/office/drawing/2014/main" id="{4B105BE0-2C93-45CC-929E-FC322B857E63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03" name="Freeform 24">
              <a:extLst>
                <a:ext uri="{FF2B5EF4-FFF2-40B4-BE49-F238E27FC236}">
                  <a16:creationId xmlns:a16="http://schemas.microsoft.com/office/drawing/2014/main" id="{3EE0809E-2788-49C4-92E1-11445CF9F9E1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3513766582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2" name="Прямая соединительная линия 61">
            <a:extLst>
              <a:ext uri="{FF2B5EF4-FFF2-40B4-BE49-F238E27FC236}">
                <a16:creationId xmlns:a16="http://schemas.microsoft.com/office/drawing/2014/main" id="{4158B305-41A4-47CC-BCBE-75EC3ACA05AC}"/>
              </a:ext>
            </a:extLst>
          </p:cNvPr>
          <p:cNvCxnSpPr>
            <a:cxnSpLocks/>
            <a:stCxn id="70" idx="2"/>
          </p:cNvCxnSpPr>
          <p:nvPr/>
        </p:nvCxnSpPr>
        <p:spPr>
          <a:xfrm>
            <a:off x="3427354" y="3772598"/>
            <a:ext cx="0" cy="139597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Прямая соединительная линия 62">
            <a:extLst>
              <a:ext uri="{FF2B5EF4-FFF2-40B4-BE49-F238E27FC236}">
                <a16:creationId xmlns:a16="http://schemas.microsoft.com/office/drawing/2014/main" id="{97F051E4-BDE8-45C2-88EA-ABF623C7CDD3}"/>
              </a:ext>
            </a:extLst>
          </p:cNvPr>
          <p:cNvCxnSpPr>
            <a:cxnSpLocks/>
            <a:stCxn id="75" idx="2"/>
          </p:cNvCxnSpPr>
          <p:nvPr/>
        </p:nvCxnSpPr>
        <p:spPr>
          <a:xfrm>
            <a:off x="4297868" y="4269654"/>
            <a:ext cx="0" cy="89891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7AE0FCEB-D63A-49E1-9B77-BFC1DED64973}"/>
              </a:ext>
            </a:extLst>
          </p:cNvPr>
          <p:cNvCxnSpPr>
            <a:cxnSpLocks/>
            <a:stCxn id="80" idx="2"/>
          </p:cNvCxnSpPr>
          <p:nvPr/>
        </p:nvCxnSpPr>
        <p:spPr>
          <a:xfrm>
            <a:off x="5192528" y="3831335"/>
            <a:ext cx="0" cy="1397297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6708B0DE-4DF2-40CD-A0F9-C1A6660F9EE7}"/>
              </a:ext>
            </a:extLst>
          </p:cNvPr>
          <p:cNvCxnSpPr>
            <a:cxnSpLocks/>
            <a:stCxn id="86" idx="2"/>
          </p:cNvCxnSpPr>
          <p:nvPr/>
        </p:nvCxnSpPr>
        <p:spPr>
          <a:xfrm>
            <a:off x="6010515" y="4426652"/>
            <a:ext cx="0" cy="80198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Прямая соединительная линия 65">
            <a:extLst>
              <a:ext uri="{FF2B5EF4-FFF2-40B4-BE49-F238E27FC236}">
                <a16:creationId xmlns:a16="http://schemas.microsoft.com/office/drawing/2014/main" id="{71977DB9-54FC-485C-99B0-9359B58C9642}"/>
              </a:ext>
            </a:extLst>
          </p:cNvPr>
          <p:cNvCxnSpPr>
            <a:cxnSpLocks/>
            <a:stCxn id="98" idx="2"/>
          </p:cNvCxnSpPr>
          <p:nvPr/>
        </p:nvCxnSpPr>
        <p:spPr>
          <a:xfrm>
            <a:off x="6910816" y="3772598"/>
            <a:ext cx="0" cy="1395974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2765931C-9DCB-4924-993F-17C6650FE44F}"/>
              </a:ext>
            </a:extLst>
          </p:cNvPr>
          <p:cNvCxnSpPr>
            <a:cxnSpLocks/>
            <a:stCxn id="103" idx="2"/>
          </p:cNvCxnSpPr>
          <p:nvPr/>
        </p:nvCxnSpPr>
        <p:spPr>
          <a:xfrm>
            <a:off x="7803647" y="4269654"/>
            <a:ext cx="45597" cy="958978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>
            <a:extLst>
              <a:ext uri="{FF2B5EF4-FFF2-40B4-BE49-F238E27FC236}">
                <a16:creationId xmlns:a16="http://schemas.microsoft.com/office/drawing/2014/main" id="{A221BD6E-E37B-4622-8C86-04D82CC7B16B}"/>
              </a:ext>
            </a:extLst>
          </p:cNvPr>
          <p:cNvCxnSpPr>
            <a:cxnSpLocks/>
            <a:stCxn id="112" idx="2"/>
          </p:cNvCxnSpPr>
          <p:nvPr/>
        </p:nvCxnSpPr>
        <p:spPr>
          <a:xfrm>
            <a:off x="8796985" y="3831335"/>
            <a:ext cx="0" cy="1337237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3EE5BB1C-EECD-4F5A-8523-3B4AC1C4D51B}"/>
              </a:ext>
            </a:extLst>
          </p:cNvPr>
          <p:cNvGrpSpPr/>
          <p:nvPr/>
        </p:nvGrpSpPr>
        <p:grpSpPr>
          <a:xfrm>
            <a:off x="2757997" y="3548107"/>
            <a:ext cx="1338714" cy="224491"/>
            <a:chOff x="6510195" y="1556711"/>
            <a:chExt cx="5051622" cy="847113"/>
          </a:xfrm>
        </p:grpSpPr>
        <p:sp>
          <p:nvSpPr>
            <p:cNvPr id="70" name="Rounded Rectangle">
              <a:extLst>
                <a:ext uri="{FF2B5EF4-FFF2-40B4-BE49-F238E27FC236}">
                  <a16:creationId xmlns:a16="http://schemas.microsoft.com/office/drawing/2014/main" id="{AF9D3561-7943-43FD-A7AF-976466C8A200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" name="Motion design">
              <a:extLst>
                <a:ext uri="{FF2B5EF4-FFF2-40B4-BE49-F238E27FC236}">
                  <a16:creationId xmlns:a16="http://schemas.microsoft.com/office/drawing/2014/main" id="{9CE418B0-2BBF-4B57-8A8D-130D5FC1ABB9}"/>
                </a:ext>
              </a:extLst>
            </p:cNvPr>
            <p:cNvSpPr txBox="1"/>
            <p:nvPr/>
          </p:nvSpPr>
          <p:spPr>
            <a:xfrm>
              <a:off x="7434556" y="1694817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Регуляторы</a:t>
              </a:r>
            </a:p>
          </p:txBody>
        </p:sp>
        <p:sp>
          <p:nvSpPr>
            <p:cNvPr id="72" name="Circle">
              <a:extLst>
                <a:ext uri="{FF2B5EF4-FFF2-40B4-BE49-F238E27FC236}">
                  <a16:creationId xmlns:a16="http://schemas.microsoft.com/office/drawing/2014/main" id="{0DCBCA65-46E8-4E60-BA97-12ECAE4A7E6B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3" name="Рисунок 72">
              <a:extLst>
                <a:ext uri="{FF2B5EF4-FFF2-40B4-BE49-F238E27FC236}">
                  <a16:creationId xmlns:a16="http://schemas.microsoft.com/office/drawing/2014/main" id="{5887A71F-E13F-42B7-A019-55511C87CDE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74" name="Группа 73">
            <a:extLst>
              <a:ext uri="{FF2B5EF4-FFF2-40B4-BE49-F238E27FC236}">
                <a16:creationId xmlns:a16="http://schemas.microsoft.com/office/drawing/2014/main" id="{789042F2-6B6B-470B-A63D-712408E8184A}"/>
              </a:ext>
            </a:extLst>
          </p:cNvPr>
          <p:cNvGrpSpPr/>
          <p:nvPr/>
        </p:nvGrpSpPr>
        <p:grpSpPr>
          <a:xfrm>
            <a:off x="3628511" y="4045163"/>
            <a:ext cx="1338714" cy="224491"/>
            <a:chOff x="6510195" y="1556711"/>
            <a:chExt cx="5051622" cy="847113"/>
          </a:xfrm>
        </p:grpSpPr>
        <p:sp>
          <p:nvSpPr>
            <p:cNvPr id="75" name="Rounded Rectangle">
              <a:extLst>
                <a:ext uri="{FF2B5EF4-FFF2-40B4-BE49-F238E27FC236}">
                  <a16:creationId xmlns:a16="http://schemas.microsoft.com/office/drawing/2014/main" id="{0D4F047F-BA18-46BD-BC24-3A30D7FAA677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6" name="Motion design">
              <a:extLst>
                <a:ext uri="{FF2B5EF4-FFF2-40B4-BE49-F238E27FC236}">
                  <a16:creationId xmlns:a16="http://schemas.microsoft.com/office/drawing/2014/main" id="{14E5E06F-6B64-41D7-B0D0-267C8DB3113D}"/>
                </a:ext>
              </a:extLst>
            </p:cNvPr>
            <p:cNvSpPr txBox="1"/>
            <p:nvPr/>
          </p:nvSpPr>
          <p:spPr>
            <a:xfrm>
              <a:off x="7434556" y="1694817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аос в данных</a:t>
              </a:r>
            </a:p>
          </p:txBody>
        </p:sp>
        <p:sp>
          <p:nvSpPr>
            <p:cNvPr id="77" name="Circle">
              <a:extLst>
                <a:ext uri="{FF2B5EF4-FFF2-40B4-BE49-F238E27FC236}">
                  <a16:creationId xmlns:a16="http://schemas.microsoft.com/office/drawing/2014/main" id="{A8410127-79CE-4AC9-BC30-9227EC3DED98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id="{199334A2-B2F5-407B-AABB-729D7F1A82DC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79" name="Группа 78">
            <a:extLst>
              <a:ext uri="{FF2B5EF4-FFF2-40B4-BE49-F238E27FC236}">
                <a16:creationId xmlns:a16="http://schemas.microsoft.com/office/drawing/2014/main" id="{867DF106-D1F9-49E9-9CDB-724195B547FE}"/>
              </a:ext>
            </a:extLst>
          </p:cNvPr>
          <p:cNvGrpSpPr/>
          <p:nvPr/>
        </p:nvGrpSpPr>
        <p:grpSpPr>
          <a:xfrm>
            <a:off x="4523171" y="3606844"/>
            <a:ext cx="1338714" cy="224491"/>
            <a:chOff x="6510195" y="1556711"/>
            <a:chExt cx="5051622" cy="847113"/>
          </a:xfrm>
        </p:grpSpPr>
        <p:sp>
          <p:nvSpPr>
            <p:cNvPr id="80" name="Rounded Rectangle">
              <a:extLst>
                <a:ext uri="{FF2B5EF4-FFF2-40B4-BE49-F238E27FC236}">
                  <a16:creationId xmlns:a16="http://schemas.microsoft.com/office/drawing/2014/main" id="{B895F90B-1C21-4675-A905-5C0E79486499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1" name="Motion design">
              <a:extLst>
                <a:ext uri="{FF2B5EF4-FFF2-40B4-BE49-F238E27FC236}">
                  <a16:creationId xmlns:a16="http://schemas.microsoft.com/office/drawing/2014/main" id="{D06AEF59-5777-4252-8192-2E4707D91BE4}"/>
                </a:ext>
              </a:extLst>
            </p:cNvPr>
            <p:cNvSpPr txBox="1"/>
            <p:nvPr/>
          </p:nvSpPr>
          <p:spPr>
            <a:xfrm>
              <a:off x="7360917" y="1662599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Legacy-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системы</a:t>
              </a:r>
            </a:p>
          </p:txBody>
        </p:sp>
        <p:sp>
          <p:nvSpPr>
            <p:cNvPr id="82" name="Circle">
              <a:extLst>
                <a:ext uri="{FF2B5EF4-FFF2-40B4-BE49-F238E27FC236}">
                  <a16:creationId xmlns:a16="http://schemas.microsoft.com/office/drawing/2014/main" id="{F743237C-CDAF-4593-A70F-41DA597F8EED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3" name="Рисунок 82">
              <a:extLst>
                <a:ext uri="{FF2B5EF4-FFF2-40B4-BE49-F238E27FC236}">
                  <a16:creationId xmlns:a16="http://schemas.microsoft.com/office/drawing/2014/main" id="{DC6A5E99-D69B-41AF-A696-517B28FB1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DD7B8AB1-933D-4678-8C55-9839C3EE2ECC}"/>
              </a:ext>
            </a:extLst>
          </p:cNvPr>
          <p:cNvGrpSpPr/>
          <p:nvPr/>
        </p:nvGrpSpPr>
        <p:grpSpPr>
          <a:xfrm>
            <a:off x="5341158" y="4202161"/>
            <a:ext cx="1338714" cy="224491"/>
            <a:chOff x="6510195" y="1556711"/>
            <a:chExt cx="5051622" cy="847113"/>
          </a:xfrm>
        </p:grpSpPr>
        <p:sp>
          <p:nvSpPr>
            <p:cNvPr id="86" name="Rounded Rectangle">
              <a:extLst>
                <a:ext uri="{FF2B5EF4-FFF2-40B4-BE49-F238E27FC236}">
                  <a16:creationId xmlns:a16="http://schemas.microsoft.com/office/drawing/2014/main" id="{36B2027E-1E83-4453-9214-34404934833B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7" name="Motion design">
              <a:extLst>
                <a:ext uri="{FF2B5EF4-FFF2-40B4-BE49-F238E27FC236}">
                  <a16:creationId xmlns:a16="http://schemas.microsoft.com/office/drawing/2014/main" id="{BCA74D79-8CEB-4966-83E5-A32EB56AD713}"/>
                </a:ext>
              </a:extLst>
            </p:cNvPr>
            <p:cNvSpPr txBox="1"/>
            <p:nvPr/>
          </p:nvSpPr>
          <p:spPr>
            <a:xfrm>
              <a:off x="7333283" y="1694817"/>
              <a:ext cx="3904915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Ограничения железа</a:t>
              </a:r>
            </a:p>
          </p:txBody>
        </p:sp>
        <p:sp>
          <p:nvSpPr>
            <p:cNvPr id="88" name="Circle">
              <a:extLst>
                <a:ext uri="{FF2B5EF4-FFF2-40B4-BE49-F238E27FC236}">
                  <a16:creationId xmlns:a16="http://schemas.microsoft.com/office/drawing/2014/main" id="{0188AEAC-25A7-43CE-AB10-B8FD91EF9BD8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89" name="Рисунок 88">
              <a:extLst>
                <a:ext uri="{FF2B5EF4-FFF2-40B4-BE49-F238E27FC236}">
                  <a16:creationId xmlns:a16="http://schemas.microsoft.com/office/drawing/2014/main" id="{0256D926-09B1-49D9-95D5-729AC8A27D8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90" name="Группа 89">
            <a:extLst>
              <a:ext uri="{FF2B5EF4-FFF2-40B4-BE49-F238E27FC236}">
                <a16:creationId xmlns:a16="http://schemas.microsoft.com/office/drawing/2014/main" id="{76B88384-2B15-4A40-8DE1-53D59A18AC18}"/>
              </a:ext>
            </a:extLst>
          </p:cNvPr>
          <p:cNvGrpSpPr/>
          <p:nvPr/>
        </p:nvGrpSpPr>
        <p:grpSpPr>
          <a:xfrm>
            <a:off x="6241459" y="3548107"/>
            <a:ext cx="1338714" cy="224491"/>
            <a:chOff x="6510195" y="1556711"/>
            <a:chExt cx="5051622" cy="847113"/>
          </a:xfrm>
        </p:grpSpPr>
        <p:sp>
          <p:nvSpPr>
            <p:cNvPr id="98" name="Rounded Rectangle">
              <a:extLst>
                <a:ext uri="{FF2B5EF4-FFF2-40B4-BE49-F238E27FC236}">
                  <a16:creationId xmlns:a16="http://schemas.microsoft.com/office/drawing/2014/main" id="{1189A119-A527-45D7-A46A-B4F2B182B0E0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9" name="Motion design">
              <a:extLst>
                <a:ext uri="{FF2B5EF4-FFF2-40B4-BE49-F238E27FC236}">
                  <a16:creationId xmlns:a16="http://schemas.microsoft.com/office/drawing/2014/main" id="{29A58AFC-8F01-4FEA-92DC-76EB7B5BE465}"/>
                </a:ext>
              </a:extLst>
            </p:cNvPr>
            <p:cNvSpPr txBox="1"/>
            <p:nvPr/>
          </p:nvSpPr>
          <p:spPr>
            <a:xfrm>
              <a:off x="7377048" y="1680440"/>
              <a:ext cx="410132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Человеческий фактор</a:t>
              </a:r>
            </a:p>
          </p:txBody>
        </p:sp>
        <p:sp>
          <p:nvSpPr>
            <p:cNvPr id="100" name="Circle">
              <a:extLst>
                <a:ext uri="{FF2B5EF4-FFF2-40B4-BE49-F238E27FC236}">
                  <a16:creationId xmlns:a16="http://schemas.microsoft.com/office/drawing/2014/main" id="{5F85C7B9-B517-47BD-B1D8-C64AB77EBA07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01" name="Рисунок 100">
              <a:extLst>
                <a:ext uri="{FF2B5EF4-FFF2-40B4-BE49-F238E27FC236}">
                  <a16:creationId xmlns:a16="http://schemas.microsoft.com/office/drawing/2014/main" id="{2B7DC9D5-F7AA-47A7-A20F-B7C7C255AE9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02" name="Группа 101">
            <a:extLst>
              <a:ext uri="{FF2B5EF4-FFF2-40B4-BE49-F238E27FC236}">
                <a16:creationId xmlns:a16="http://schemas.microsoft.com/office/drawing/2014/main" id="{40194E1D-054E-4AD3-8E75-8FD09509AA48}"/>
              </a:ext>
            </a:extLst>
          </p:cNvPr>
          <p:cNvGrpSpPr/>
          <p:nvPr/>
        </p:nvGrpSpPr>
        <p:grpSpPr>
          <a:xfrm>
            <a:off x="7032213" y="4045163"/>
            <a:ext cx="1542867" cy="224491"/>
            <a:chOff x="6510191" y="1556711"/>
            <a:chExt cx="5821990" cy="847113"/>
          </a:xfrm>
        </p:grpSpPr>
        <p:sp>
          <p:nvSpPr>
            <p:cNvPr id="103" name="Rounded Rectangle">
              <a:extLst>
                <a:ext uri="{FF2B5EF4-FFF2-40B4-BE49-F238E27FC236}">
                  <a16:creationId xmlns:a16="http://schemas.microsoft.com/office/drawing/2014/main" id="{77CB80D1-FD69-460A-B3A4-B8C9B997F6E9}"/>
                </a:ext>
              </a:extLst>
            </p:cNvPr>
            <p:cNvSpPr/>
            <p:nvPr/>
          </p:nvSpPr>
          <p:spPr>
            <a:xfrm>
              <a:off x="6510191" y="1556711"/>
              <a:ext cx="5821990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8" name="Motion design">
              <a:extLst>
                <a:ext uri="{FF2B5EF4-FFF2-40B4-BE49-F238E27FC236}">
                  <a16:creationId xmlns:a16="http://schemas.microsoft.com/office/drawing/2014/main" id="{DCB9EB85-E055-4C70-9D67-D884E4277C4D}"/>
                </a:ext>
              </a:extLst>
            </p:cNvPr>
            <p:cNvSpPr txBox="1"/>
            <p:nvPr/>
          </p:nvSpPr>
          <p:spPr>
            <a:xfrm>
              <a:off x="7434556" y="1694817"/>
              <a:ext cx="4412155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Изменения внеш. среды</a:t>
              </a:r>
            </a:p>
          </p:txBody>
        </p:sp>
        <p:sp>
          <p:nvSpPr>
            <p:cNvPr id="109" name="Circle">
              <a:extLst>
                <a:ext uri="{FF2B5EF4-FFF2-40B4-BE49-F238E27FC236}">
                  <a16:creationId xmlns:a16="http://schemas.microsoft.com/office/drawing/2014/main" id="{325C91D0-8FE3-4E66-83DC-1C2758C76D1C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10" name="Рисунок 109">
              <a:extLst>
                <a:ext uri="{FF2B5EF4-FFF2-40B4-BE49-F238E27FC236}">
                  <a16:creationId xmlns:a16="http://schemas.microsoft.com/office/drawing/2014/main" id="{D130C1C6-398B-486D-B673-E859FAB6842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4954EEEE-9FEE-451A-9431-DE842D0E2CC9}"/>
              </a:ext>
            </a:extLst>
          </p:cNvPr>
          <p:cNvGrpSpPr/>
          <p:nvPr/>
        </p:nvGrpSpPr>
        <p:grpSpPr>
          <a:xfrm>
            <a:off x="8127628" y="3606844"/>
            <a:ext cx="1338714" cy="224491"/>
            <a:chOff x="6510195" y="1556711"/>
            <a:chExt cx="5051622" cy="847113"/>
          </a:xfrm>
        </p:grpSpPr>
        <p:sp>
          <p:nvSpPr>
            <p:cNvPr id="112" name="Rounded Rectangle">
              <a:extLst>
                <a:ext uri="{FF2B5EF4-FFF2-40B4-BE49-F238E27FC236}">
                  <a16:creationId xmlns:a16="http://schemas.microsoft.com/office/drawing/2014/main" id="{8FDD1DAA-D893-46DD-9E2C-F3103682BDE0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3" name="Motion design">
              <a:extLst>
                <a:ext uri="{FF2B5EF4-FFF2-40B4-BE49-F238E27FC236}">
                  <a16:creationId xmlns:a16="http://schemas.microsoft.com/office/drawing/2014/main" id="{77C45E84-8F15-4C9F-B82F-88C4BDAD97F1}"/>
                </a:ext>
              </a:extLst>
            </p:cNvPr>
            <p:cNvSpPr txBox="1"/>
            <p:nvPr/>
          </p:nvSpPr>
          <p:spPr>
            <a:xfrm>
              <a:off x="7360917" y="1662599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Чёрные лебеди</a:t>
              </a:r>
            </a:p>
          </p:txBody>
        </p:sp>
        <p:sp>
          <p:nvSpPr>
            <p:cNvPr id="121" name="Circle">
              <a:extLst>
                <a:ext uri="{FF2B5EF4-FFF2-40B4-BE49-F238E27FC236}">
                  <a16:creationId xmlns:a16="http://schemas.microsoft.com/office/drawing/2014/main" id="{F176C8A8-FBA9-4F2C-A011-755C1963D6AF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22" name="Рисунок 121">
              <a:extLst>
                <a:ext uri="{FF2B5EF4-FFF2-40B4-BE49-F238E27FC236}">
                  <a16:creationId xmlns:a16="http://schemas.microsoft.com/office/drawing/2014/main" id="{480E9960-590F-4128-9840-B061C7E5E83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356611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6" name="Таймлайн">
            <a:extLst>
              <a:ext uri="{FF2B5EF4-FFF2-40B4-BE49-F238E27FC236}">
                <a16:creationId xmlns:a16="http://schemas.microsoft.com/office/drawing/2014/main" id="{B7A0B0D6-1771-4627-AC89-29E9178C67BF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15136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09BFED1-563F-455F-963F-5E224A61955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Горы">
            <a:extLst>
              <a:ext uri="{FF2B5EF4-FFF2-40B4-BE49-F238E27FC236}">
                <a16:creationId xmlns:a16="http://schemas.microsoft.com/office/drawing/2014/main" id="{72235193-BAF1-4896-8AE5-6238B345584A}"/>
              </a:ext>
            </a:extLst>
          </p:cNvPr>
          <p:cNvGrpSpPr/>
          <p:nvPr/>
        </p:nvGrpSpPr>
        <p:grpSpPr>
          <a:xfrm>
            <a:off x="1587500" y="4600270"/>
            <a:ext cx="8851900" cy="800338"/>
            <a:chOff x="266731" y="4368798"/>
            <a:chExt cx="12028084" cy="1087505"/>
          </a:xfrm>
        </p:grpSpPr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69455B26-5924-4589-9961-F20F9072C5EB}"/>
                </a:ext>
              </a:extLst>
            </p:cNvPr>
            <p:cNvSpPr/>
            <p:nvPr/>
          </p:nvSpPr>
          <p:spPr>
            <a:xfrm>
              <a:off x="285702" y="5141011"/>
              <a:ext cx="12009113" cy="31529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016CE759-15EA-4AAC-80DF-1DB130BDBBA5}"/>
                </a:ext>
              </a:extLst>
            </p:cNvPr>
            <p:cNvGrpSpPr/>
            <p:nvPr/>
          </p:nvGrpSpPr>
          <p:grpSpPr>
            <a:xfrm>
              <a:off x="266731" y="4368798"/>
              <a:ext cx="11997341" cy="916264"/>
              <a:chOff x="-220210" y="3429000"/>
              <a:chExt cx="13608806" cy="1039336"/>
            </a:xfrm>
          </p:grpSpPr>
          <p:pic>
            <p:nvPicPr>
              <p:cNvPr id="26" name="Рисунок 25">
                <a:extLst>
                  <a:ext uri="{FF2B5EF4-FFF2-40B4-BE49-F238E27FC236}">
                    <a16:creationId xmlns:a16="http://schemas.microsoft.com/office/drawing/2014/main" id="{5083B818-EC8C-41C1-A397-049ADFB460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4888198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DCAC2217-4FB0-45EC-B5F8-079C8E72B0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220210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02A75ADD-A489-4184-BB20-24DFBC980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38626" y="3429001"/>
                <a:ext cx="4117673" cy="1039335"/>
              </a:xfrm>
              <a:prstGeom prst="rect">
                <a:avLst/>
              </a:prstGeom>
            </p:spPr>
          </p:pic>
          <p:pic>
            <p:nvPicPr>
              <p:cNvPr id="28" name="Рисунок 27">
                <a:extLst>
                  <a:ext uri="{FF2B5EF4-FFF2-40B4-BE49-F238E27FC236}">
                    <a16:creationId xmlns:a16="http://schemas.microsoft.com/office/drawing/2014/main" id="{CCD1CE5F-119C-4274-B921-A9DF9B8E0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12389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33" name="Рисунок 32">
                <a:extLst>
                  <a:ext uri="{FF2B5EF4-FFF2-40B4-BE49-F238E27FC236}">
                    <a16:creationId xmlns:a16="http://schemas.microsoft.com/office/drawing/2014/main" id="{114307A5-414D-4875-83E6-6E39745D7C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9270924" y="3429001"/>
                <a:ext cx="4117672" cy="1039335"/>
              </a:xfrm>
              <a:prstGeom prst="rect">
                <a:avLst/>
              </a:prstGeom>
            </p:spPr>
          </p:pic>
        </p:grpSp>
      </p:grpSp>
      <p:cxnSp>
        <p:nvCxnSpPr>
          <p:cNvPr id="35" name="Прямая соединительная линия 34">
            <a:extLst>
              <a:ext uri="{FF2B5EF4-FFF2-40B4-BE49-F238E27FC236}">
                <a16:creationId xmlns:a16="http://schemas.microsoft.com/office/drawing/2014/main" id="{A955B0AC-7138-4E45-91F1-4FBAAF304E37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84C3D35B-0F9C-4319-9091-5796E02D3EC7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4BF7DCBF-4155-4892-8BD0-E734D736F982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писание">
            <a:extLst>
              <a:ext uri="{FF2B5EF4-FFF2-40B4-BE49-F238E27FC236}">
                <a16:creationId xmlns:a16="http://schemas.microsoft.com/office/drawing/2014/main" id="{0742915A-706D-4A94-BA0E-B3D7D31ECA9A}"/>
              </a:ext>
            </a:extLst>
          </p:cNvPr>
          <p:cNvSpPr txBox="1"/>
          <p:nvPr/>
        </p:nvSpPr>
        <p:spPr>
          <a:xfrm>
            <a:off x="5543637" y="5562259"/>
            <a:ext cx="102143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D0D0D">
                    <a:lumMod val="75000"/>
                    <a:lumOff val="2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Барь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D0D0D">
                  <a:lumMod val="75000"/>
                  <a:lumOff val="25000"/>
                </a:srgbClr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55" name="Shape_фон">
            <a:extLst>
              <a:ext uri="{FF2B5EF4-FFF2-40B4-BE49-F238E27FC236}">
                <a16:creationId xmlns:a16="http://schemas.microsoft.com/office/drawing/2014/main" id="{72C90283-79F4-4439-889C-8C42B5853A6E}"/>
              </a:ext>
            </a:extLst>
          </p:cNvPr>
          <p:cNvSpPr/>
          <p:nvPr/>
        </p:nvSpPr>
        <p:spPr>
          <a:xfrm>
            <a:off x="353680" y="2240422"/>
            <a:ext cx="2244096" cy="2394725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56" name="Описание">
            <a:extLst>
              <a:ext uri="{FF2B5EF4-FFF2-40B4-BE49-F238E27FC236}">
                <a16:creationId xmlns:a16="http://schemas.microsoft.com/office/drawing/2014/main" id="{C25FA91B-5333-4A02-A79C-DA5420E16DA7}"/>
              </a:ext>
            </a:extLst>
          </p:cNvPr>
          <p:cNvSpPr txBox="1"/>
          <p:nvPr/>
        </p:nvSpPr>
        <p:spPr>
          <a:xfrm>
            <a:off x="1045964" y="2358041"/>
            <a:ext cx="8595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Бизнес</a:t>
            </a:r>
          </a:p>
        </p:txBody>
      </p:sp>
      <p:sp>
        <p:nvSpPr>
          <p:cNvPr id="158" name="Заголовок">
            <a:extLst>
              <a:ext uri="{FF2B5EF4-FFF2-40B4-BE49-F238E27FC236}">
                <a16:creationId xmlns:a16="http://schemas.microsoft.com/office/drawing/2014/main" id="{8ADAFE0E-36BF-432F-98B3-CEFD1ABCCB0F}"/>
              </a:ext>
            </a:extLst>
          </p:cNvPr>
          <p:cNvSpPr txBox="1"/>
          <p:nvPr/>
        </p:nvSpPr>
        <p:spPr>
          <a:xfrm>
            <a:off x="552786" y="255394"/>
            <a:ext cx="5129930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Эра до </a:t>
            </a:r>
            <a:r>
              <a:rPr lang="en-US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CDI</a:t>
            </a: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до 2011 г.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48" name="Shape_фон">
            <a:extLst>
              <a:ext uri="{FF2B5EF4-FFF2-40B4-BE49-F238E27FC236}">
                <a16:creationId xmlns:a16="http://schemas.microsoft.com/office/drawing/2014/main" id="{64A0CDE4-ED2A-48D3-ABA0-8055B25A1C36}"/>
              </a:ext>
            </a:extLst>
          </p:cNvPr>
          <p:cNvSpPr/>
          <p:nvPr/>
        </p:nvSpPr>
        <p:spPr>
          <a:xfrm>
            <a:off x="9601844" y="2244909"/>
            <a:ext cx="2244096" cy="2395022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pic>
        <p:nvPicPr>
          <p:cNvPr id="168" name="Рисунок 167">
            <a:extLst>
              <a:ext uri="{FF2B5EF4-FFF2-40B4-BE49-F238E27FC236}">
                <a16:creationId xmlns:a16="http://schemas.microsoft.com/office/drawing/2014/main" id="{77D86B86-EA73-4719-884F-C0D1906027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l="4197" r="4197"/>
          <a:stretch/>
        </p:blipFill>
        <p:spPr>
          <a:xfrm>
            <a:off x="9953967" y="2745025"/>
            <a:ext cx="1553687" cy="1890122"/>
          </a:xfrm>
          <a:custGeom>
            <a:avLst/>
            <a:gdLst>
              <a:gd name="connsiteX0" fmla="*/ 0 w 1520740"/>
              <a:gd name="connsiteY0" fmla="*/ 0 h 1828795"/>
              <a:gd name="connsiteX1" fmla="*/ 1520740 w 1520740"/>
              <a:gd name="connsiteY1" fmla="*/ 0 h 1828795"/>
              <a:gd name="connsiteX2" fmla="*/ 1520740 w 1520740"/>
              <a:gd name="connsiteY2" fmla="*/ 1828795 h 1828795"/>
              <a:gd name="connsiteX3" fmla="*/ 0 w 1520740"/>
              <a:gd name="connsiteY3" fmla="*/ 1828795 h 1828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0740" h="1828795">
                <a:moveTo>
                  <a:pt x="0" y="0"/>
                </a:moveTo>
                <a:lnTo>
                  <a:pt x="1520740" y="0"/>
                </a:lnTo>
                <a:lnTo>
                  <a:pt x="1520740" y="1828795"/>
                </a:lnTo>
                <a:lnTo>
                  <a:pt x="0" y="1828795"/>
                </a:lnTo>
                <a:close/>
              </a:path>
            </a:pathLst>
          </a:custGeom>
        </p:spPr>
      </p:pic>
      <p:sp>
        <p:nvSpPr>
          <p:cNvPr id="125" name="Описание">
            <a:extLst>
              <a:ext uri="{FF2B5EF4-FFF2-40B4-BE49-F238E27FC236}">
                <a16:creationId xmlns:a16="http://schemas.microsoft.com/office/drawing/2014/main" id="{FEBA9B86-75EE-4DC0-B20E-12CABE4037D1}"/>
              </a:ext>
            </a:extLst>
          </p:cNvPr>
          <p:cNvSpPr txBox="1"/>
          <p:nvPr/>
        </p:nvSpPr>
        <p:spPr>
          <a:xfrm>
            <a:off x="9846877" y="2390787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Клиент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26" name="Описание">
            <a:extLst>
              <a:ext uri="{FF2B5EF4-FFF2-40B4-BE49-F238E27FC236}">
                <a16:creationId xmlns:a16="http://schemas.microsoft.com/office/drawing/2014/main" id="{DFAAB9D9-5674-4399-A373-8932B6A5CF6D}"/>
              </a:ext>
            </a:extLst>
          </p:cNvPr>
          <p:cNvSpPr txBox="1"/>
          <p:nvPr/>
        </p:nvSpPr>
        <p:spPr>
          <a:xfrm>
            <a:off x="10625909" y="2390787"/>
            <a:ext cx="10342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Стадия 1</a:t>
            </a:r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DE8209A5-1477-4562-8942-F0531F44B30C}"/>
              </a:ext>
            </a:extLst>
          </p:cNvPr>
          <p:cNvGrpSpPr/>
          <p:nvPr/>
        </p:nvGrpSpPr>
        <p:grpSpPr>
          <a:xfrm>
            <a:off x="187405" y="3791593"/>
            <a:ext cx="2671511" cy="835844"/>
            <a:chOff x="321083" y="3832985"/>
            <a:chExt cx="2671511" cy="835844"/>
          </a:xfrm>
        </p:grpSpPr>
        <p:sp>
          <p:nvSpPr>
            <p:cNvPr id="123" name="Shape_фон">
              <a:extLst>
                <a:ext uri="{FF2B5EF4-FFF2-40B4-BE49-F238E27FC236}">
                  <a16:creationId xmlns:a16="http://schemas.microsoft.com/office/drawing/2014/main" id="{28C72DD3-9A73-40A5-AFAA-3A332C0BD8CB}"/>
                </a:ext>
              </a:extLst>
            </p:cNvPr>
            <p:cNvSpPr/>
            <p:nvPr/>
          </p:nvSpPr>
          <p:spPr>
            <a:xfrm>
              <a:off x="321083" y="3832985"/>
              <a:ext cx="2671511" cy="8358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15" name="Группа 114">
              <a:extLst>
                <a:ext uri="{FF2B5EF4-FFF2-40B4-BE49-F238E27FC236}">
                  <a16:creationId xmlns:a16="http://schemas.microsoft.com/office/drawing/2014/main" id="{7ABAC5F9-CDE9-44C6-8E29-51C61887A7CC}"/>
                </a:ext>
              </a:extLst>
            </p:cNvPr>
            <p:cNvGrpSpPr/>
            <p:nvPr/>
          </p:nvGrpSpPr>
          <p:grpSpPr>
            <a:xfrm>
              <a:off x="1231531" y="4066081"/>
              <a:ext cx="858237" cy="468563"/>
              <a:chOff x="1299037" y="3101526"/>
              <a:chExt cx="1118376" cy="610588"/>
            </a:xfrm>
          </p:grpSpPr>
          <p:pic>
            <p:nvPicPr>
              <p:cNvPr id="116" name="Рисунок 115">
                <a:extLst>
                  <a:ext uri="{FF2B5EF4-FFF2-40B4-BE49-F238E27FC236}">
                    <a16:creationId xmlns:a16="http://schemas.microsoft.com/office/drawing/2014/main" id="{114F8E85-8574-4E06-8789-9751F50C35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>
                <a:extLst>
                  <a:ext uri="{96DAC541-7B7A-43D3-8B79-37D633B846F1}">
                    <asvg:svgBlip xmlns:asvg="http://schemas.microsoft.com/office/drawing/2016/SVG/main" r:embed="rId9"/>
                  </a:ext>
                </a:extLst>
              </a:blip>
              <a:stretch>
                <a:fillRect/>
              </a:stretch>
            </p:blipFill>
            <p:spPr>
              <a:xfrm>
                <a:off x="1299037" y="3101526"/>
                <a:ext cx="1089430" cy="610588"/>
              </a:xfrm>
              <a:prstGeom prst="rect">
                <a:avLst/>
              </a:prstGeom>
            </p:spPr>
          </p:pic>
          <p:sp>
            <p:nvSpPr>
              <p:cNvPr id="117" name="Описание">
                <a:extLst>
                  <a:ext uri="{FF2B5EF4-FFF2-40B4-BE49-F238E27FC236}">
                    <a16:creationId xmlns:a16="http://schemas.microsoft.com/office/drawing/2014/main" id="{0330D57C-766D-4F9B-82E3-6FC5D965648D}"/>
                  </a:ext>
                </a:extLst>
              </p:cNvPr>
              <p:cNvSpPr txBox="1"/>
              <p:nvPr/>
            </p:nvSpPr>
            <p:spPr>
              <a:xfrm>
                <a:off x="1857173" y="3107105"/>
                <a:ext cx="560240" cy="3409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SIM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544906F7-BE33-4AD8-A527-5BA07E234F97}"/>
                </a:ext>
              </a:extLst>
            </p:cNvPr>
            <p:cNvGrpSpPr/>
            <p:nvPr/>
          </p:nvGrpSpPr>
          <p:grpSpPr>
            <a:xfrm>
              <a:off x="487005" y="4071136"/>
              <a:ext cx="721309" cy="474239"/>
              <a:chOff x="617365" y="3855765"/>
              <a:chExt cx="1081377" cy="710972"/>
            </a:xfrm>
          </p:grpSpPr>
          <p:pic>
            <p:nvPicPr>
              <p:cNvPr id="119" name="Рисунок 118">
                <a:extLst>
                  <a:ext uri="{FF2B5EF4-FFF2-40B4-BE49-F238E27FC236}">
                    <a16:creationId xmlns:a16="http://schemas.microsoft.com/office/drawing/2014/main" id="{02978212-C758-4AB9-8D2C-E68670C996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37540" y="3855765"/>
                <a:ext cx="1061202" cy="649810"/>
              </a:xfrm>
              <a:prstGeom prst="rect">
                <a:avLst/>
              </a:prstGeom>
            </p:spPr>
          </p:pic>
          <p:sp>
            <p:nvSpPr>
              <p:cNvPr id="120" name="Описание">
                <a:extLst>
                  <a:ext uri="{FF2B5EF4-FFF2-40B4-BE49-F238E27FC236}">
                    <a16:creationId xmlns:a16="http://schemas.microsoft.com/office/drawing/2014/main" id="{32DC82F9-5072-48CF-A1CD-BD2F4BCC16D5}"/>
                  </a:ext>
                </a:extLst>
              </p:cNvPr>
              <p:cNvSpPr txBox="1"/>
              <p:nvPr/>
            </p:nvSpPr>
            <p:spPr>
              <a:xfrm>
                <a:off x="617365" y="4174535"/>
                <a:ext cx="819973" cy="3922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ARD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9" name="Группа 18">
              <a:extLst>
                <a:ext uri="{FF2B5EF4-FFF2-40B4-BE49-F238E27FC236}">
                  <a16:creationId xmlns:a16="http://schemas.microsoft.com/office/drawing/2014/main" id="{EDE35290-A561-4532-8EEF-8ECAB9C89830}"/>
                </a:ext>
              </a:extLst>
            </p:cNvPr>
            <p:cNvGrpSpPr/>
            <p:nvPr/>
          </p:nvGrpSpPr>
          <p:grpSpPr>
            <a:xfrm>
              <a:off x="2209935" y="4026294"/>
              <a:ext cx="606419" cy="502270"/>
              <a:chOff x="5418342" y="2035427"/>
              <a:chExt cx="909135" cy="752996"/>
            </a:xfrm>
          </p:grpSpPr>
          <p:pic>
            <p:nvPicPr>
              <p:cNvPr id="8" name="Рисунок 7">
                <a:extLst>
                  <a:ext uri="{FF2B5EF4-FFF2-40B4-BE49-F238E27FC236}">
                    <a16:creationId xmlns:a16="http://schemas.microsoft.com/office/drawing/2014/main" id="{964A349B-1771-4833-AAE5-3460171C6DE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3383" y="2035427"/>
                <a:ext cx="614094" cy="752996"/>
              </a:xfrm>
              <a:prstGeom prst="rect">
                <a:avLst/>
              </a:prstGeom>
            </p:spPr>
          </p:pic>
          <p:grpSp>
            <p:nvGrpSpPr>
              <p:cNvPr id="96" name="Группа 95">
                <a:extLst>
                  <a:ext uri="{FF2B5EF4-FFF2-40B4-BE49-F238E27FC236}">
                    <a16:creationId xmlns:a16="http://schemas.microsoft.com/office/drawing/2014/main" id="{DB6DF214-3E36-412F-8984-EFEC3AF193DD}"/>
                  </a:ext>
                </a:extLst>
              </p:cNvPr>
              <p:cNvGrpSpPr/>
              <p:nvPr/>
            </p:nvGrpSpPr>
            <p:grpSpPr>
              <a:xfrm>
                <a:off x="5418342" y="2083431"/>
                <a:ext cx="673376" cy="690804"/>
                <a:chOff x="504301" y="2908240"/>
                <a:chExt cx="781089" cy="801306"/>
              </a:xfrm>
            </p:grpSpPr>
            <p:grpSp>
              <p:nvGrpSpPr>
                <p:cNvPr id="97" name="Рисунок 149">
                  <a:extLst>
                    <a:ext uri="{FF2B5EF4-FFF2-40B4-BE49-F238E27FC236}">
                      <a16:creationId xmlns:a16="http://schemas.microsoft.com/office/drawing/2014/main" id="{1A76FD67-C00B-4BC8-B818-0CDB416ABACA}"/>
                    </a:ext>
                  </a:extLst>
                </p:cNvPr>
                <p:cNvGrpSpPr/>
                <p:nvPr/>
              </p:nvGrpSpPr>
              <p:grpSpPr>
                <a:xfrm>
                  <a:off x="604343" y="2908240"/>
                  <a:ext cx="613028" cy="801306"/>
                  <a:chOff x="703210" y="3059703"/>
                  <a:chExt cx="613028" cy="801306"/>
                </a:xfrm>
              </p:grpSpPr>
              <p:sp>
                <p:nvSpPr>
                  <p:cNvPr id="105" name="Полилиния: фигура 104">
                    <a:extLst>
                      <a:ext uri="{FF2B5EF4-FFF2-40B4-BE49-F238E27FC236}">
                        <a16:creationId xmlns:a16="http://schemas.microsoft.com/office/drawing/2014/main" id="{89BE72EA-8793-46BC-B2E2-8676BB15E363}"/>
                      </a:ext>
                    </a:extLst>
                  </p:cNvPr>
                  <p:cNvSpPr/>
                  <p:nvPr/>
                </p:nvSpPr>
                <p:spPr>
                  <a:xfrm>
                    <a:off x="703211" y="3059703"/>
                    <a:ext cx="612930" cy="801306"/>
                  </a:xfrm>
                  <a:custGeom>
                    <a:avLst/>
                    <a:gdLst>
                      <a:gd name="connsiteX0" fmla="*/ 551569 w 612930"/>
                      <a:gd name="connsiteY0" fmla="*/ 801209 h 801306"/>
                      <a:gd name="connsiteX1" fmla="*/ 61361 w 612930"/>
                      <a:gd name="connsiteY1" fmla="*/ 801209 h 801306"/>
                      <a:gd name="connsiteX2" fmla="*/ 0 w 612930"/>
                      <a:gd name="connsiteY2" fmla="*/ 739848 h 801306"/>
                      <a:gd name="connsiteX3" fmla="*/ 0 w 612930"/>
                      <a:gd name="connsiteY3" fmla="*/ 61361 h 801306"/>
                      <a:gd name="connsiteX4" fmla="*/ 61361 w 612930"/>
                      <a:gd name="connsiteY4" fmla="*/ 0 h 801306"/>
                      <a:gd name="connsiteX5" fmla="*/ 372265 w 612930"/>
                      <a:gd name="connsiteY5" fmla="*/ 0 h 801306"/>
                      <a:gd name="connsiteX6" fmla="*/ 612931 w 612930"/>
                      <a:gd name="connsiteY6" fmla="*/ 248079 h 801306"/>
                      <a:gd name="connsiteX7" fmla="*/ 612931 w 612930"/>
                      <a:gd name="connsiteY7" fmla="*/ 739945 h 801306"/>
                      <a:gd name="connsiteX8" fmla="*/ 551569 w 612930"/>
                      <a:gd name="connsiteY8" fmla="*/ 801307 h 801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801306">
                        <a:moveTo>
                          <a:pt x="551569" y="801209"/>
                        </a:moveTo>
                        <a:lnTo>
                          <a:pt x="61361" y="801209"/>
                        </a:lnTo>
                        <a:cubicBezTo>
                          <a:pt x="27510" y="801209"/>
                          <a:pt x="0" y="773699"/>
                          <a:pt x="0" y="739848"/>
                        </a:cubicBezTo>
                        <a:lnTo>
                          <a:pt x="0" y="61361"/>
                        </a:lnTo>
                        <a:cubicBezTo>
                          <a:pt x="0" y="27510"/>
                          <a:pt x="27510" y="0"/>
                          <a:pt x="61361" y="0"/>
                        </a:cubicBezTo>
                        <a:lnTo>
                          <a:pt x="372265" y="0"/>
                        </a:lnTo>
                        <a:lnTo>
                          <a:pt x="612931" y="248079"/>
                        </a:lnTo>
                        <a:lnTo>
                          <a:pt x="612931" y="739945"/>
                        </a:lnTo>
                        <a:cubicBezTo>
                          <a:pt x="612931" y="773797"/>
                          <a:pt x="585420" y="801307"/>
                          <a:pt x="551569" y="801307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06" name="Полилиния: фигура 105">
                    <a:extLst>
                      <a:ext uri="{FF2B5EF4-FFF2-40B4-BE49-F238E27FC236}">
                        <a16:creationId xmlns:a16="http://schemas.microsoft.com/office/drawing/2014/main" id="{5624B92F-80EB-4C2C-9DAB-7948B2F5DEAC}"/>
                      </a:ext>
                    </a:extLst>
                  </p:cNvPr>
                  <p:cNvSpPr/>
                  <p:nvPr/>
                </p:nvSpPr>
                <p:spPr>
                  <a:xfrm>
                    <a:off x="703210" y="3617810"/>
                    <a:ext cx="612928" cy="243104"/>
                  </a:xfrm>
                  <a:custGeom>
                    <a:avLst/>
                    <a:gdLst>
                      <a:gd name="connsiteX0" fmla="*/ 12097 w 612930"/>
                      <a:gd name="connsiteY0" fmla="*/ 0 h 243104"/>
                      <a:gd name="connsiteX1" fmla="*/ 600834 w 612930"/>
                      <a:gd name="connsiteY1" fmla="*/ 0 h 243104"/>
                      <a:gd name="connsiteX2" fmla="*/ 612931 w 612930"/>
                      <a:gd name="connsiteY2" fmla="*/ 12097 h 243104"/>
                      <a:gd name="connsiteX3" fmla="*/ 612931 w 612930"/>
                      <a:gd name="connsiteY3" fmla="*/ 179889 h 243104"/>
                      <a:gd name="connsiteX4" fmla="*/ 549716 w 612930"/>
                      <a:gd name="connsiteY4" fmla="*/ 243104 h 243104"/>
                      <a:gd name="connsiteX5" fmla="*/ 63215 w 612930"/>
                      <a:gd name="connsiteY5" fmla="*/ 243104 h 243104"/>
                      <a:gd name="connsiteX6" fmla="*/ 0 w 612930"/>
                      <a:gd name="connsiteY6" fmla="*/ 179889 h 243104"/>
                      <a:gd name="connsiteX7" fmla="*/ 0 w 612930"/>
                      <a:gd name="connsiteY7" fmla="*/ 12097 h 243104"/>
                      <a:gd name="connsiteX8" fmla="*/ 12097 w 612930"/>
                      <a:gd name="connsiteY8" fmla="*/ 0 h 24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243104">
                        <a:moveTo>
                          <a:pt x="12097" y="0"/>
                        </a:moveTo>
                        <a:lnTo>
                          <a:pt x="600834" y="0"/>
                        </a:lnTo>
                        <a:cubicBezTo>
                          <a:pt x="607468" y="0"/>
                          <a:pt x="612931" y="5463"/>
                          <a:pt x="612931" y="12097"/>
                        </a:cubicBezTo>
                        <a:lnTo>
                          <a:pt x="612931" y="179889"/>
                        </a:lnTo>
                        <a:cubicBezTo>
                          <a:pt x="612931" y="214813"/>
                          <a:pt x="584640" y="243104"/>
                          <a:pt x="549716" y="243104"/>
                        </a:cubicBezTo>
                        <a:lnTo>
                          <a:pt x="63215" y="243104"/>
                        </a:lnTo>
                        <a:cubicBezTo>
                          <a:pt x="28291" y="243104"/>
                          <a:pt x="0" y="214813"/>
                          <a:pt x="0" y="179889"/>
                        </a:cubicBezTo>
                        <a:lnTo>
                          <a:pt x="0" y="12097"/>
                        </a:lnTo>
                        <a:cubicBezTo>
                          <a:pt x="0" y="5463"/>
                          <a:pt x="5463" y="0"/>
                          <a:pt x="12097" y="0"/>
                        </a:cubicBezTo>
                        <a:close/>
                      </a:path>
                    </a:pathLst>
                  </a:custGeom>
                  <a:solidFill>
                    <a:srgbClr val="7C2323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07" name="Полилиния: фигура 106">
                    <a:extLst>
                      <a:ext uri="{FF2B5EF4-FFF2-40B4-BE49-F238E27FC236}">
                        <a16:creationId xmlns:a16="http://schemas.microsoft.com/office/drawing/2014/main" id="{93F47420-12EB-4B8C-B289-CDC1ED636C69}"/>
                      </a:ext>
                    </a:extLst>
                  </p:cNvPr>
                  <p:cNvSpPr/>
                  <p:nvPr/>
                </p:nvSpPr>
                <p:spPr>
                  <a:xfrm>
                    <a:off x="1075476" y="3059703"/>
                    <a:ext cx="240665" cy="248079"/>
                  </a:xfrm>
                  <a:custGeom>
                    <a:avLst/>
                    <a:gdLst>
                      <a:gd name="connsiteX0" fmla="*/ 0 w 240665"/>
                      <a:gd name="connsiteY0" fmla="*/ 0 h 248079"/>
                      <a:gd name="connsiteX1" fmla="*/ 0 w 240665"/>
                      <a:gd name="connsiteY1" fmla="*/ 191010 h 248079"/>
                      <a:gd name="connsiteX2" fmla="*/ 57069 w 240665"/>
                      <a:gd name="connsiteY2" fmla="*/ 248079 h 248079"/>
                      <a:gd name="connsiteX3" fmla="*/ 240665 w 240665"/>
                      <a:gd name="connsiteY3" fmla="*/ 248079 h 248079"/>
                      <a:gd name="connsiteX4" fmla="*/ 0 w 240665"/>
                      <a:gd name="connsiteY4" fmla="*/ 0 h 2480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0665" h="248079">
                        <a:moveTo>
                          <a:pt x="0" y="0"/>
                        </a:moveTo>
                        <a:lnTo>
                          <a:pt x="0" y="191010"/>
                        </a:lnTo>
                        <a:cubicBezTo>
                          <a:pt x="0" y="222520"/>
                          <a:pt x="25559" y="248079"/>
                          <a:pt x="57069" y="248079"/>
                        </a:cubicBezTo>
                        <a:lnTo>
                          <a:pt x="240665" y="248079"/>
                        </a:lnTo>
                        <a:cubicBezTo>
                          <a:pt x="240665" y="248079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14" name="Полилиния: фигура 113">
                    <a:extLst>
                      <a:ext uri="{FF2B5EF4-FFF2-40B4-BE49-F238E27FC236}">
                        <a16:creationId xmlns:a16="http://schemas.microsoft.com/office/drawing/2014/main" id="{4C953125-6721-4B17-9AD6-1C3A300854D9}"/>
                      </a:ext>
                    </a:extLst>
                  </p:cNvPr>
                  <p:cNvSpPr/>
                  <p:nvPr/>
                </p:nvSpPr>
                <p:spPr>
                  <a:xfrm>
                    <a:off x="1077995" y="3267395"/>
                    <a:ext cx="238243" cy="92019"/>
                  </a:xfrm>
                  <a:custGeom>
                    <a:avLst/>
                    <a:gdLst>
                      <a:gd name="connsiteX0" fmla="*/ 17 w 238243"/>
                      <a:gd name="connsiteY0" fmla="*/ 0 h 92019"/>
                      <a:gd name="connsiteX1" fmla="*/ 50355 w 238243"/>
                      <a:gd name="connsiteY1" fmla="*/ 61556 h 92019"/>
                      <a:gd name="connsiteX2" fmla="*/ 56404 w 238243"/>
                      <a:gd name="connsiteY2" fmla="*/ 62922 h 92019"/>
                      <a:gd name="connsiteX3" fmla="*/ 238244 w 238243"/>
                      <a:gd name="connsiteY3" fmla="*/ 91701 h 92019"/>
                      <a:gd name="connsiteX4" fmla="*/ 238244 w 238243"/>
                      <a:gd name="connsiteY4" fmla="*/ 40387 h 92019"/>
                      <a:gd name="connsiteX5" fmla="*/ 54648 w 238243"/>
                      <a:gd name="connsiteY5" fmla="*/ 40387 h 92019"/>
                      <a:gd name="connsiteX6" fmla="*/ 115 w 238243"/>
                      <a:gd name="connsiteY6" fmla="*/ 98 h 92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8243" h="92019">
                        <a:moveTo>
                          <a:pt x="17" y="0"/>
                        </a:moveTo>
                        <a:cubicBezTo>
                          <a:pt x="17" y="0"/>
                          <a:pt x="-2421" y="46338"/>
                          <a:pt x="50355" y="61556"/>
                        </a:cubicBezTo>
                        <a:cubicBezTo>
                          <a:pt x="52306" y="62142"/>
                          <a:pt x="54355" y="62532"/>
                          <a:pt x="56404" y="62922"/>
                        </a:cubicBezTo>
                        <a:cubicBezTo>
                          <a:pt x="80402" y="67215"/>
                          <a:pt x="238244" y="95310"/>
                          <a:pt x="238244" y="91701"/>
                        </a:cubicBezTo>
                        <a:lnTo>
                          <a:pt x="238244" y="40387"/>
                        </a:lnTo>
                        <a:lnTo>
                          <a:pt x="54648" y="40387"/>
                        </a:lnTo>
                        <a:cubicBezTo>
                          <a:pt x="54648" y="40387"/>
                          <a:pt x="8797" y="38826"/>
                          <a:pt x="115" y="98"/>
                        </a:cubicBezTo>
                        <a:close/>
                      </a:path>
                    </a:pathLst>
                  </a:custGeom>
                  <a:solidFill>
                    <a:srgbClr val="C00000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04" name="Описание">
                  <a:extLst>
                    <a:ext uri="{FF2B5EF4-FFF2-40B4-BE49-F238E27FC236}">
                      <a16:creationId xmlns:a16="http://schemas.microsoft.com/office/drawing/2014/main" id="{23879DBB-3998-450F-8858-EF56A54A31F8}"/>
                    </a:ext>
                  </a:extLst>
                </p:cNvPr>
                <p:cNvSpPr txBox="1"/>
                <p:nvPr/>
              </p:nvSpPr>
              <p:spPr>
                <a:xfrm>
                  <a:off x="504301" y="3181235"/>
                  <a:ext cx="781089" cy="3211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ОЛИС</a:t>
                  </a:r>
                  <a:endPara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</p:grpSp>
      </p:grpSp>
      <p:pic>
        <p:nvPicPr>
          <p:cNvPr id="29" name="Рисунок 28">
            <a:extLst>
              <a:ext uri="{FF2B5EF4-FFF2-40B4-BE49-F238E27FC236}">
                <a16:creationId xmlns:a16="http://schemas.microsoft.com/office/drawing/2014/main" id="{990AC322-A652-49DC-9955-FCB9FC134DF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 rot="20939646">
            <a:off x="1009014" y="2794890"/>
            <a:ext cx="914830" cy="856746"/>
          </a:xfrm>
          <a:prstGeom prst="rect">
            <a:avLst/>
          </a:prstGeom>
        </p:spPr>
      </p:pic>
      <p:grpSp>
        <p:nvGrpSpPr>
          <p:cNvPr id="94" name="Group 2048">
            <a:extLst>
              <a:ext uri="{FF2B5EF4-FFF2-40B4-BE49-F238E27FC236}">
                <a16:creationId xmlns:a16="http://schemas.microsoft.com/office/drawing/2014/main" id="{65BE813F-003E-4D3A-8AF6-89571AD9A1F7}"/>
              </a:ext>
            </a:extLst>
          </p:cNvPr>
          <p:cNvGrpSpPr/>
          <p:nvPr/>
        </p:nvGrpSpPr>
        <p:grpSpPr>
          <a:xfrm rot="16200000">
            <a:off x="3173471" y="1240356"/>
            <a:ext cx="252432" cy="220634"/>
            <a:chOff x="8227651" y="2789818"/>
            <a:chExt cx="252465" cy="220663"/>
          </a:xfrm>
        </p:grpSpPr>
        <p:sp>
          <p:nvSpPr>
            <p:cNvPr id="95" name="Freeform 23">
              <a:extLst>
                <a:ext uri="{FF2B5EF4-FFF2-40B4-BE49-F238E27FC236}">
                  <a16:creationId xmlns:a16="http://schemas.microsoft.com/office/drawing/2014/main" id="{C5BE63E2-A513-4FF6-ABDC-DB3F71353F8C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24" name="Freeform 24">
              <a:extLst>
                <a:ext uri="{FF2B5EF4-FFF2-40B4-BE49-F238E27FC236}">
                  <a16:creationId xmlns:a16="http://schemas.microsoft.com/office/drawing/2014/main" id="{1DEA471D-5F6B-4187-98A1-24E2365004AB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1865235156"/>
      </p:ext>
    </p:extLst>
  </p:cSld>
  <p:clrMapOvr>
    <a:masterClrMapping/>
  </p:clrMapOvr>
  <p:transition spd="slow">
    <p:push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7073" y="178516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1" name="Группа 80">
            <a:extLst>
              <a:ext uri="{FF2B5EF4-FFF2-40B4-BE49-F238E27FC236}">
                <a16:creationId xmlns:a16="http://schemas.microsoft.com/office/drawing/2014/main" id="{D89A4BA9-172A-4862-9DB3-6714291958E2}"/>
              </a:ext>
            </a:extLst>
          </p:cNvPr>
          <p:cNvGrpSpPr/>
          <p:nvPr/>
        </p:nvGrpSpPr>
        <p:grpSpPr>
          <a:xfrm>
            <a:off x="5353106" y="1808110"/>
            <a:ext cx="1963363" cy="2082398"/>
            <a:chOff x="5288674" y="2353610"/>
            <a:chExt cx="1963363" cy="2082398"/>
          </a:xfrm>
        </p:grpSpPr>
        <p:sp>
          <p:nvSpPr>
            <p:cNvPr id="82" name="Freeform 14">
              <a:extLst>
                <a:ext uri="{FF2B5EF4-FFF2-40B4-BE49-F238E27FC236}">
                  <a16:creationId xmlns:a16="http://schemas.microsoft.com/office/drawing/2014/main" id="{46E1C2EE-8482-4E19-8A2F-BACE13E6A266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0ADD5BD0-1E58-4B43-9A7F-8401B16F9033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4" name="Группа 83">
            <a:extLst>
              <a:ext uri="{FF2B5EF4-FFF2-40B4-BE49-F238E27FC236}">
                <a16:creationId xmlns:a16="http://schemas.microsoft.com/office/drawing/2014/main" id="{40189E76-1156-45C4-A8F6-F3FAC41AF443}"/>
              </a:ext>
            </a:extLst>
          </p:cNvPr>
          <p:cNvGrpSpPr/>
          <p:nvPr/>
        </p:nvGrpSpPr>
        <p:grpSpPr>
          <a:xfrm>
            <a:off x="4875531" y="2333012"/>
            <a:ext cx="2270274" cy="1557497"/>
            <a:chOff x="4811099" y="2878512"/>
            <a:chExt cx="2270274" cy="1557497"/>
          </a:xfrm>
        </p:grpSpPr>
        <p:sp>
          <p:nvSpPr>
            <p:cNvPr id="85" name="Freeform 16">
              <a:extLst>
                <a:ext uri="{FF2B5EF4-FFF2-40B4-BE49-F238E27FC236}">
                  <a16:creationId xmlns:a16="http://schemas.microsoft.com/office/drawing/2014/main" id="{3B91F6A6-E564-4D58-AFD5-8A16CA9CE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19">
              <a:extLst>
                <a:ext uri="{FF2B5EF4-FFF2-40B4-BE49-F238E27FC236}">
                  <a16:creationId xmlns:a16="http://schemas.microsoft.com/office/drawing/2014/main" id="{B4797AA3-4DBB-4500-A0D3-24151512293B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312B9EC8-088F-4202-83F9-86055D3BF314}"/>
              </a:ext>
            </a:extLst>
          </p:cNvPr>
          <p:cNvGrpSpPr/>
          <p:nvPr/>
        </p:nvGrpSpPr>
        <p:grpSpPr>
          <a:xfrm>
            <a:off x="1203436" y="1785163"/>
            <a:ext cx="3063037" cy="2593009"/>
            <a:chOff x="256507" y="1843787"/>
            <a:chExt cx="4374911" cy="3703570"/>
          </a:xfrm>
        </p:grpSpPr>
        <p:sp>
          <p:nvSpPr>
            <p:cNvPr id="87" name="Описание">
              <a:extLst>
                <a:ext uri="{FF2B5EF4-FFF2-40B4-BE49-F238E27FC236}">
                  <a16:creationId xmlns:a16="http://schemas.microsoft.com/office/drawing/2014/main" id="{13D1C931-B32F-4F99-9D9C-8CB825B8972F}"/>
                </a:ext>
              </a:extLst>
            </p:cNvPr>
            <p:cNvSpPr txBox="1"/>
            <p:nvPr/>
          </p:nvSpPr>
          <p:spPr>
            <a:xfrm>
              <a:off x="238790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88" name="Shape_фон">
              <a:extLst>
                <a:ext uri="{FF2B5EF4-FFF2-40B4-BE49-F238E27FC236}">
                  <a16:creationId xmlns:a16="http://schemas.microsoft.com/office/drawing/2014/main" id="{462AA18D-AB31-41C7-9CAA-6F873E53BBD6}"/>
                </a:ext>
              </a:extLst>
            </p:cNvPr>
            <p:cNvSpPr/>
            <p:nvPr/>
          </p:nvSpPr>
          <p:spPr>
            <a:xfrm>
              <a:off x="256506" y="2166638"/>
              <a:ext cx="4374910" cy="33807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89" name="Группа 88">
              <a:extLst>
                <a:ext uri="{FF2B5EF4-FFF2-40B4-BE49-F238E27FC236}">
                  <a16:creationId xmlns:a16="http://schemas.microsoft.com/office/drawing/2014/main" id="{C58EE9FF-E70E-43A7-92FC-548F614A82E7}"/>
                </a:ext>
              </a:extLst>
            </p:cNvPr>
            <p:cNvGrpSpPr/>
            <p:nvPr/>
          </p:nvGrpSpPr>
          <p:grpSpPr>
            <a:xfrm>
              <a:off x="818471" y="1843788"/>
              <a:ext cx="3076949" cy="645702"/>
              <a:chOff x="6510195" y="1556711"/>
              <a:chExt cx="4036736" cy="847113"/>
            </a:xfrm>
          </p:grpSpPr>
          <p:sp>
            <p:nvSpPr>
              <p:cNvPr id="90" name="Rounded Rectangle">
                <a:extLst>
                  <a:ext uri="{FF2B5EF4-FFF2-40B4-BE49-F238E27FC236}">
                    <a16:creationId xmlns:a16="http://schemas.microsoft.com/office/drawing/2014/main" id="{E488F451-2C8D-4707-AC6B-9B2FF8E8618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91" name="Motion design">
                <a:extLst>
                  <a:ext uri="{FF2B5EF4-FFF2-40B4-BE49-F238E27FC236}">
                    <a16:creationId xmlns:a16="http://schemas.microsoft.com/office/drawing/2014/main" id="{4712008C-C4C3-4A55-A5A3-AE0567522DCC}"/>
                  </a:ext>
                </a:extLst>
              </p:cNvPr>
              <p:cNvSpPr txBox="1"/>
              <p:nvPr/>
            </p:nvSpPr>
            <p:spPr>
              <a:xfrm>
                <a:off x="7232364" y="1784752"/>
                <a:ext cx="2738753" cy="37534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11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92" name="Circle">
                <a:extLst>
                  <a:ext uri="{FF2B5EF4-FFF2-40B4-BE49-F238E27FC236}">
                    <a16:creationId xmlns:a16="http://schemas.microsoft.com/office/drawing/2014/main" id="{1A6384F3-9990-4A1D-B800-3B6D2FB1861F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5" name="Группа 4">
              <a:extLst>
                <a:ext uri="{FF2B5EF4-FFF2-40B4-BE49-F238E27FC236}">
                  <a16:creationId xmlns:a16="http://schemas.microsoft.com/office/drawing/2014/main" id="{A09A30DB-9C7A-4837-8692-E6DCC6BD6A6E}"/>
                </a:ext>
              </a:extLst>
            </p:cNvPr>
            <p:cNvGrpSpPr/>
            <p:nvPr/>
          </p:nvGrpSpPr>
          <p:grpSpPr>
            <a:xfrm>
              <a:off x="548598" y="2690616"/>
              <a:ext cx="3548295" cy="2521422"/>
              <a:chOff x="268350" y="2584451"/>
              <a:chExt cx="3548295" cy="2521422"/>
            </a:xfrm>
          </p:grpSpPr>
          <p:sp>
            <p:nvSpPr>
              <p:cNvPr id="94" name="Описание">
                <a:extLst>
                  <a:ext uri="{FF2B5EF4-FFF2-40B4-BE49-F238E27FC236}">
                    <a16:creationId xmlns:a16="http://schemas.microsoft.com/office/drawing/2014/main" id="{C009D4CC-B585-4E0A-8861-BAC68271E494}"/>
                  </a:ext>
                </a:extLst>
              </p:cNvPr>
              <p:cNvSpPr txBox="1"/>
              <p:nvPr/>
            </p:nvSpPr>
            <p:spPr>
              <a:xfrm>
                <a:off x="268350" y="3005358"/>
                <a:ext cx="3548295" cy="210051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иалтайм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иск</a:t>
                </a: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 и </a:t>
                </a:r>
                <a:r>
                  <a:rPr lang="ru-RU" sz="900" dirty="0">
                    <a:solidFill>
                      <a:schemeClr val="bg2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дентификация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Автоматизация отчетности:</a:t>
                </a:r>
                <a:b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</a:b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еестр АСВ анкета ПОД/ФТ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Расчет ценност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одбор предложений и партнеров по геолокации клиента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Коммуникация, обеспечивающая лояльность</a:t>
                </a:r>
              </a:p>
              <a:p>
                <a:pPr marL="457200" marR="0" lvl="0" indent="-45720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buFont typeface="+mj-lt"/>
                  <a:buAutoNum type="arabicPeriod"/>
                  <a:tabLst/>
                  <a:defRPr/>
                </a:pPr>
                <a:r>
                  <a:rPr lang="ru-RU" sz="9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богащение профиля клиента данными из экосистемы</a:t>
                </a:r>
              </a:p>
            </p:txBody>
          </p:sp>
          <p:grpSp>
            <p:nvGrpSpPr>
              <p:cNvPr id="95" name="Группа 94">
                <a:extLst>
                  <a:ext uri="{FF2B5EF4-FFF2-40B4-BE49-F238E27FC236}">
                    <a16:creationId xmlns:a16="http://schemas.microsoft.com/office/drawing/2014/main" id="{FA740FB2-DA80-48AC-A4A2-755F2ADD1C85}"/>
                  </a:ext>
                </a:extLst>
              </p:cNvPr>
              <p:cNvGrpSpPr/>
              <p:nvPr/>
            </p:nvGrpSpPr>
            <p:grpSpPr>
              <a:xfrm>
                <a:off x="1317800" y="2584451"/>
                <a:ext cx="1163147" cy="262015"/>
                <a:chOff x="6510195" y="1530021"/>
                <a:chExt cx="4389122" cy="988709"/>
              </a:xfrm>
            </p:grpSpPr>
            <p:sp>
              <p:nvSpPr>
                <p:cNvPr id="96" name="Rounded Rectangle">
                  <a:extLst>
                    <a:ext uri="{FF2B5EF4-FFF2-40B4-BE49-F238E27FC236}">
                      <a16:creationId xmlns:a16="http://schemas.microsoft.com/office/drawing/2014/main" id="{D3F048DC-11E5-4E3D-804A-57010F4CE03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7" name="Motion design">
                  <a:extLst>
                    <a:ext uri="{FF2B5EF4-FFF2-40B4-BE49-F238E27FC236}">
                      <a16:creationId xmlns:a16="http://schemas.microsoft.com/office/drawing/2014/main" id="{F3F8E6FC-7889-4BA0-9304-1CAC3406C0A0}"/>
                    </a:ext>
                  </a:extLst>
                </p:cNvPr>
                <p:cNvSpPr txBox="1"/>
                <p:nvPr/>
              </p:nvSpPr>
              <p:spPr>
                <a:xfrm>
                  <a:off x="7097982" y="1530021"/>
                  <a:ext cx="3691422" cy="87931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15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99" name="Circle">
                  <a:extLst>
                    <a:ext uri="{FF2B5EF4-FFF2-40B4-BE49-F238E27FC236}">
                      <a16:creationId xmlns:a16="http://schemas.microsoft.com/office/drawing/2014/main" id="{47D45FC8-E78D-4AF5-AF7E-D34546D0DC5C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00" name="Группа 99">
                <a:extLst>
                  <a:ext uri="{FF2B5EF4-FFF2-40B4-BE49-F238E27FC236}">
                    <a16:creationId xmlns:a16="http://schemas.microsoft.com/office/drawing/2014/main" id="{ACDF4DF9-D297-4045-91C8-D73254B7099E}"/>
                  </a:ext>
                </a:extLst>
              </p:cNvPr>
              <p:cNvGrpSpPr/>
              <p:nvPr/>
            </p:nvGrpSpPr>
            <p:grpSpPr>
              <a:xfrm>
                <a:off x="2573576" y="2584451"/>
                <a:ext cx="1163147" cy="262015"/>
                <a:chOff x="6510195" y="1530021"/>
                <a:chExt cx="4389122" cy="988709"/>
              </a:xfrm>
            </p:grpSpPr>
            <p:sp>
              <p:nvSpPr>
                <p:cNvPr id="105" name="Rounded Rectangle">
                  <a:extLst>
                    <a:ext uri="{FF2B5EF4-FFF2-40B4-BE49-F238E27FC236}">
                      <a16:creationId xmlns:a16="http://schemas.microsoft.com/office/drawing/2014/main" id="{B39CA848-83A9-4078-82F3-2FF6C61B3CCD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4389122" cy="962019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6" name="Motion design">
                  <a:extLst>
                    <a:ext uri="{FF2B5EF4-FFF2-40B4-BE49-F238E27FC236}">
                      <a16:creationId xmlns:a16="http://schemas.microsoft.com/office/drawing/2014/main" id="{E798D504-83C3-4AE5-ADB8-BB83F4084903}"/>
                    </a:ext>
                  </a:extLst>
                </p:cNvPr>
                <p:cNvSpPr txBox="1"/>
                <p:nvPr/>
              </p:nvSpPr>
              <p:spPr>
                <a:xfrm>
                  <a:off x="7097982" y="1530021"/>
                  <a:ext cx="3691422" cy="879317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9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0,3 сек</a:t>
                  </a:r>
                  <a:endParaRPr kumimoji="0" lang="ru-RU" sz="9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7" name="Circle">
                  <a:extLst>
                    <a:ext uri="{FF2B5EF4-FFF2-40B4-BE49-F238E27FC236}">
                      <a16:creationId xmlns:a16="http://schemas.microsoft.com/office/drawing/2014/main" id="{00BF57DF-0535-41D4-B634-B9BDFFCAB5A9}"/>
                    </a:ext>
                  </a:extLst>
                </p:cNvPr>
                <p:cNvSpPr/>
                <p:nvPr/>
              </p:nvSpPr>
              <p:spPr>
                <a:xfrm>
                  <a:off x="6737638" y="1694318"/>
                  <a:ext cx="720004" cy="720003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cxnSp>
            <p:nvCxnSpPr>
              <p:cNvPr id="109" name="Прямая соединительная линия 108">
                <a:extLst>
                  <a:ext uri="{FF2B5EF4-FFF2-40B4-BE49-F238E27FC236}">
                    <a16:creationId xmlns:a16="http://schemas.microsoft.com/office/drawing/2014/main" id="{D9FB1C87-470D-4F15-B8DE-5D1BFDEAE5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6769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0" name="Прямая соединительная линия 109">
                <a:extLst>
                  <a:ext uri="{FF2B5EF4-FFF2-40B4-BE49-F238E27FC236}">
                    <a16:creationId xmlns:a16="http://schemas.microsoft.com/office/drawing/2014/main" id="{FD40D7C9-42E4-4B88-BEC7-56559AC4B57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155149" y="2871404"/>
                <a:ext cx="0" cy="193741"/>
              </a:xfrm>
              <a:prstGeom prst="line">
                <a:avLst/>
              </a:prstGeom>
              <a:ln w="19050">
                <a:solidFill>
                  <a:schemeClr val="bg2"/>
                </a:solidFill>
                <a:prstDash val="sysDash"/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7262B2FC-4E54-4EFC-BD92-F802093D9484}"/>
              </a:ext>
            </a:extLst>
          </p:cNvPr>
          <p:cNvGrpSpPr/>
          <p:nvPr/>
        </p:nvGrpSpPr>
        <p:grpSpPr>
          <a:xfrm>
            <a:off x="7667040" y="2190875"/>
            <a:ext cx="3188406" cy="1840003"/>
            <a:chOff x="7510156" y="1843788"/>
            <a:chExt cx="4374910" cy="2524723"/>
          </a:xfrm>
        </p:grpSpPr>
        <p:sp>
          <p:nvSpPr>
            <p:cNvPr id="68" name="Описание">
              <a:extLst>
                <a:ext uri="{FF2B5EF4-FFF2-40B4-BE49-F238E27FC236}">
                  <a16:creationId xmlns:a16="http://schemas.microsoft.com/office/drawing/2014/main" id="{AA7EE19C-C357-4E8D-BF1A-C7964B173714}"/>
                </a:ext>
              </a:extLst>
            </p:cNvPr>
            <p:cNvSpPr txBox="1"/>
            <p:nvPr/>
          </p:nvSpPr>
          <p:spPr>
            <a:xfrm>
              <a:off x="9641554" y="3588568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69" name="Shape_фон">
              <a:extLst>
                <a:ext uri="{FF2B5EF4-FFF2-40B4-BE49-F238E27FC236}">
                  <a16:creationId xmlns:a16="http://schemas.microsoft.com/office/drawing/2014/main" id="{271679A5-0C74-4AD5-828D-E01B7B34964B}"/>
                </a:ext>
              </a:extLst>
            </p:cNvPr>
            <p:cNvSpPr/>
            <p:nvPr/>
          </p:nvSpPr>
          <p:spPr>
            <a:xfrm>
              <a:off x="7510156" y="2166638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1" name="Rounded Rectangle">
              <a:extLst>
                <a:ext uri="{FF2B5EF4-FFF2-40B4-BE49-F238E27FC236}">
                  <a16:creationId xmlns:a16="http://schemas.microsoft.com/office/drawing/2014/main" id="{6B83646F-DD0B-47BD-A258-F6410212E2AB}"/>
                </a:ext>
              </a:extLst>
            </p:cNvPr>
            <p:cNvSpPr/>
            <p:nvPr/>
          </p:nvSpPr>
          <p:spPr>
            <a:xfrm>
              <a:off x="8072121" y="1843788"/>
              <a:ext cx="3076949" cy="645702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2" name="Motion design">
              <a:extLst>
                <a:ext uri="{FF2B5EF4-FFF2-40B4-BE49-F238E27FC236}">
                  <a16:creationId xmlns:a16="http://schemas.microsoft.com/office/drawing/2014/main" id="{3641B947-1B67-45A1-B96E-DC9BB5B3D80A}"/>
                </a:ext>
              </a:extLst>
            </p:cNvPr>
            <p:cNvSpPr txBox="1"/>
            <p:nvPr/>
          </p:nvSpPr>
          <p:spPr>
            <a:xfrm>
              <a:off x="8622584" y="2023235"/>
              <a:ext cx="2087579" cy="27485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T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73" name="Circle">
              <a:extLst>
                <a:ext uri="{FF2B5EF4-FFF2-40B4-BE49-F238E27FC236}">
                  <a16:creationId xmlns:a16="http://schemas.microsoft.com/office/drawing/2014/main" id="{72049445-C329-40EA-B6C4-D58FEFD822C8}"/>
                </a:ext>
              </a:extLst>
            </p:cNvPr>
            <p:cNvSpPr/>
            <p:nvPr/>
          </p:nvSpPr>
          <p:spPr>
            <a:xfrm>
              <a:off x="8168303" y="1924501"/>
              <a:ext cx="484276" cy="484277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4" name="Описание">
              <a:extLst>
                <a:ext uri="{FF2B5EF4-FFF2-40B4-BE49-F238E27FC236}">
                  <a16:creationId xmlns:a16="http://schemas.microsoft.com/office/drawing/2014/main" id="{90F695DD-D9F4-4345-9437-D60FD2130AC7}"/>
                </a:ext>
              </a:extLst>
            </p:cNvPr>
            <p:cNvSpPr txBox="1"/>
            <p:nvPr/>
          </p:nvSpPr>
          <p:spPr>
            <a:xfrm>
              <a:off x="8111282" y="2667376"/>
              <a:ext cx="3548295" cy="12669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остоянная актуализация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 err="1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Дашборды</a:t>
              </a: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 для управления качеством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Защита клиентских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Обезлич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9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Тестовый стенд под ключ</a:t>
              </a:r>
            </a:p>
          </p:txBody>
        </p:sp>
      </p:grpSp>
      <p:sp>
        <p:nvSpPr>
          <p:cNvPr id="108" name="Заголовок">
            <a:extLst>
              <a:ext uri="{FF2B5EF4-FFF2-40B4-BE49-F238E27FC236}">
                <a16:creationId xmlns:a16="http://schemas.microsoft.com/office/drawing/2014/main" id="{76D20FC5-692C-4BE1-AE14-B48CD3A9039C}"/>
              </a:ext>
            </a:extLst>
          </p:cNvPr>
          <p:cNvSpPr txBox="1"/>
          <p:nvPr/>
        </p:nvSpPr>
        <p:spPr>
          <a:xfrm>
            <a:off x="552786" y="255394"/>
            <a:ext cx="428194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Буду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3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-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…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11" name="Таймлайн">
            <a:extLst>
              <a:ext uri="{FF2B5EF4-FFF2-40B4-BE49-F238E27FC236}">
                <a16:creationId xmlns:a16="http://schemas.microsoft.com/office/drawing/2014/main" id="{2F2F0832-B10A-4483-99E8-B0FA9FD61B43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12" name="Прямая соединительная линия 111">
            <a:extLst>
              <a:ext uri="{FF2B5EF4-FFF2-40B4-BE49-F238E27FC236}">
                <a16:creationId xmlns:a16="http://schemas.microsoft.com/office/drawing/2014/main" id="{55BD76A6-2BD5-42CD-AB58-224658481924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Прямая соединительная линия 112">
            <a:extLst>
              <a:ext uri="{FF2B5EF4-FFF2-40B4-BE49-F238E27FC236}">
                <a16:creationId xmlns:a16="http://schemas.microsoft.com/office/drawing/2014/main" id="{DECBE26A-5FE3-4B2E-BF4C-5341AB0FF096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4" name="Прямая соединительная линия 113">
            <a:extLst>
              <a:ext uri="{FF2B5EF4-FFF2-40B4-BE49-F238E27FC236}">
                <a16:creationId xmlns:a16="http://schemas.microsoft.com/office/drawing/2014/main" id="{144B0B58-18E4-4FF5-837C-7A7BAE3F1316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5" name="Прямая соединительная линия 114">
            <a:extLst>
              <a:ext uri="{FF2B5EF4-FFF2-40B4-BE49-F238E27FC236}">
                <a16:creationId xmlns:a16="http://schemas.microsoft.com/office/drawing/2014/main" id="{1BB82083-0207-46FF-A5D7-83345D42E8EE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6" name="Group 2048">
            <a:extLst>
              <a:ext uri="{FF2B5EF4-FFF2-40B4-BE49-F238E27FC236}">
                <a16:creationId xmlns:a16="http://schemas.microsoft.com/office/drawing/2014/main" id="{40307BCE-52F8-4502-B6AA-651A6DAE87D3}"/>
              </a:ext>
            </a:extLst>
          </p:cNvPr>
          <p:cNvGrpSpPr/>
          <p:nvPr/>
        </p:nvGrpSpPr>
        <p:grpSpPr>
          <a:xfrm rot="16200000">
            <a:off x="10632099" y="1240356"/>
            <a:ext cx="252432" cy="220634"/>
            <a:chOff x="8227651" y="2789818"/>
            <a:chExt cx="252465" cy="220663"/>
          </a:xfrm>
        </p:grpSpPr>
        <p:sp>
          <p:nvSpPr>
            <p:cNvPr id="117" name="Freeform 23">
              <a:extLst>
                <a:ext uri="{FF2B5EF4-FFF2-40B4-BE49-F238E27FC236}">
                  <a16:creationId xmlns:a16="http://schemas.microsoft.com/office/drawing/2014/main" id="{703594B2-FC68-4A0D-8B0A-D91A7DF41B0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18" name="Freeform 24">
              <a:extLst>
                <a:ext uri="{FF2B5EF4-FFF2-40B4-BE49-F238E27FC236}">
                  <a16:creationId xmlns:a16="http://schemas.microsoft.com/office/drawing/2014/main" id="{0FDD9634-3FDA-4528-A675-1EEBF93979CE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id="{B50E8296-9042-491B-92BF-BBA7CDE5E55A}"/>
              </a:ext>
            </a:extLst>
          </p:cNvPr>
          <p:cNvGrpSpPr/>
          <p:nvPr/>
        </p:nvGrpSpPr>
        <p:grpSpPr>
          <a:xfrm>
            <a:off x="3908545" y="4168047"/>
            <a:ext cx="4374910" cy="2524723"/>
            <a:chOff x="4277669" y="5358292"/>
            <a:chExt cx="4374910" cy="2524723"/>
          </a:xfrm>
        </p:grpSpPr>
        <p:sp>
          <p:nvSpPr>
            <p:cNvPr id="66" name="Описание">
              <a:extLst>
                <a:ext uri="{FF2B5EF4-FFF2-40B4-BE49-F238E27FC236}">
                  <a16:creationId xmlns:a16="http://schemas.microsoft.com/office/drawing/2014/main" id="{E6F7B18B-F7EB-4006-9802-FC04CFF12AA8}"/>
                </a:ext>
              </a:extLst>
            </p:cNvPr>
            <p:cNvSpPr txBox="1"/>
            <p:nvPr/>
          </p:nvSpPr>
          <p:spPr>
            <a:xfrm>
              <a:off x="6409067" y="7103072"/>
              <a:ext cx="647934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CARD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endParaRPr>
            </a:p>
          </p:txBody>
        </p:sp>
        <p:sp>
          <p:nvSpPr>
            <p:cNvPr id="70" name="Shape_фон">
              <a:extLst>
                <a:ext uri="{FF2B5EF4-FFF2-40B4-BE49-F238E27FC236}">
                  <a16:creationId xmlns:a16="http://schemas.microsoft.com/office/drawing/2014/main" id="{CC2C6DA1-6CCB-4ADB-8682-855C21F5B442}"/>
                </a:ext>
              </a:extLst>
            </p:cNvPr>
            <p:cNvSpPr/>
            <p:nvPr/>
          </p:nvSpPr>
          <p:spPr>
            <a:xfrm>
              <a:off x="4277669" y="5681142"/>
              <a:ext cx="4374910" cy="220187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689C008F-EC04-4B18-8AD2-84BC2E63D65C}"/>
                </a:ext>
              </a:extLst>
            </p:cNvPr>
            <p:cNvGrpSpPr/>
            <p:nvPr/>
          </p:nvGrpSpPr>
          <p:grpSpPr>
            <a:xfrm>
              <a:off x="4926650" y="5358292"/>
              <a:ext cx="3076949" cy="645702"/>
              <a:chOff x="4839634" y="5358292"/>
              <a:chExt cx="3076949" cy="645702"/>
            </a:xfrm>
          </p:grpSpPr>
          <p:sp>
            <p:nvSpPr>
              <p:cNvPr id="80" name="Rounded Rectangle">
                <a:extLst>
                  <a:ext uri="{FF2B5EF4-FFF2-40B4-BE49-F238E27FC236}">
                    <a16:creationId xmlns:a16="http://schemas.microsoft.com/office/drawing/2014/main" id="{15E1DBF3-35D5-496A-9563-E6FB38ACFE35}"/>
                  </a:ext>
                </a:extLst>
              </p:cNvPr>
              <p:cNvSpPr/>
              <p:nvPr/>
            </p:nvSpPr>
            <p:spPr>
              <a:xfrm>
                <a:off x="4839634" y="5358292"/>
                <a:ext cx="3076949" cy="645702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04" name="Motion design">
                <a:extLst>
                  <a:ext uri="{FF2B5EF4-FFF2-40B4-BE49-F238E27FC236}">
                    <a16:creationId xmlns:a16="http://schemas.microsoft.com/office/drawing/2014/main" id="{B7DAF9E2-3C7E-4FC1-B013-8BB3551E66AA}"/>
                  </a:ext>
                </a:extLst>
              </p:cNvPr>
              <p:cNvSpPr txBox="1"/>
              <p:nvPr/>
            </p:nvSpPr>
            <p:spPr>
              <a:xfrm>
                <a:off x="5390097" y="5490974"/>
                <a:ext cx="2087579" cy="36838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="" xmlns:m="http://schemas.openxmlformats.org/officeDocument/2006/math" xmlns:a14="http://schemas.microsoft.com/office/drawing/2010/main" xmlns:ma14="http://schemas.microsoft.com/office/mac/drawingml/2011/main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19" name="Circle">
                <a:extLst>
                  <a:ext uri="{FF2B5EF4-FFF2-40B4-BE49-F238E27FC236}">
                    <a16:creationId xmlns:a16="http://schemas.microsoft.com/office/drawing/2014/main" id="{7648F7BF-C977-46D9-9979-71A15C896385}"/>
                  </a:ext>
                </a:extLst>
              </p:cNvPr>
              <p:cNvSpPr/>
              <p:nvPr/>
            </p:nvSpPr>
            <p:spPr>
              <a:xfrm>
                <a:off x="4935816" y="5439005"/>
                <a:ext cx="484276" cy="484277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79" name="Описание">
              <a:extLst>
                <a:ext uri="{FF2B5EF4-FFF2-40B4-BE49-F238E27FC236}">
                  <a16:creationId xmlns:a16="http://schemas.microsoft.com/office/drawing/2014/main" id="{E3D4032A-2E77-4271-B583-F9A3B5FA55C8}"/>
                </a:ext>
              </a:extLst>
            </p:cNvPr>
            <p:cNvSpPr txBox="1"/>
            <p:nvPr/>
          </p:nvSpPr>
          <p:spPr>
            <a:xfrm>
              <a:off x="4690976" y="6206798"/>
              <a:ext cx="3834837" cy="116955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Релевантные предложения</a:t>
              </a:r>
              <a:b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</a:b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 ожидаемых каналах коммуникации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Быстрое обслуживание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Комплексные услуги от экосистемы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Учет предпочтений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411973502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500">
        <p159:morph option="byObject"/>
      </p:transition>
    </mc:Choice>
    <mc:Fallback xmlns="">
      <p:transition spd="slow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" name="Rounded Rectangle">
            <a:extLst>
              <a:ext uri="{FF2B5EF4-FFF2-40B4-BE49-F238E27FC236}">
                <a16:creationId xmlns:a16="http://schemas.microsoft.com/office/drawing/2014/main" id="{88792DE6-2CDC-49E5-A836-894DB4214048}"/>
              </a:ext>
            </a:extLst>
          </p:cNvPr>
          <p:cNvSpPr/>
          <p:nvPr/>
        </p:nvSpPr>
        <p:spPr>
          <a:xfrm>
            <a:off x="14711" y="2472283"/>
            <a:ext cx="5373423" cy="2368994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 dirty="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20" name="CDIConf_Black">
            <a:extLst>
              <a:ext uri="{FF2B5EF4-FFF2-40B4-BE49-F238E27FC236}">
                <a16:creationId xmlns:a16="http://schemas.microsoft.com/office/drawing/2014/main" id="{99A6A31C-BAC4-461B-ABD7-14700F100FA4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21" name="Полилиния: фигура 20">
              <a:extLst>
                <a:ext uri="{FF2B5EF4-FFF2-40B4-BE49-F238E27FC236}">
                  <a16:creationId xmlns:a16="http://schemas.microsoft.com/office/drawing/2014/main" id="{95BED774-8E19-450A-B388-1EF0CD38D385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2" name="Полилиния: фигура 21">
              <a:extLst>
                <a:ext uri="{FF2B5EF4-FFF2-40B4-BE49-F238E27FC236}">
                  <a16:creationId xmlns:a16="http://schemas.microsoft.com/office/drawing/2014/main" id="{77D9FEE4-B8BC-493D-946E-5061288C2581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3" name="Полилиния: фигура 22">
              <a:extLst>
                <a:ext uri="{FF2B5EF4-FFF2-40B4-BE49-F238E27FC236}">
                  <a16:creationId xmlns:a16="http://schemas.microsoft.com/office/drawing/2014/main" id="{81725853-5B5B-4A00-9781-C03772EB9AA3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24" name="Полилиния: фигура 23">
              <a:extLst>
                <a:ext uri="{FF2B5EF4-FFF2-40B4-BE49-F238E27FC236}">
                  <a16:creationId xmlns:a16="http://schemas.microsoft.com/office/drawing/2014/main" id="{0312E7DE-4D9E-4015-A9C3-78EA88A0FF28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B09402DE-197A-464A-9BD8-77F064A0C9A3}"/>
              </a:ext>
            </a:extLst>
          </p:cNvPr>
          <p:cNvGrpSpPr/>
          <p:nvPr/>
        </p:nvGrpSpPr>
        <p:grpSpPr>
          <a:xfrm>
            <a:off x="630183" y="2161919"/>
            <a:ext cx="5051622" cy="847113"/>
            <a:chOff x="630183" y="2161919"/>
            <a:chExt cx="5051622" cy="847113"/>
          </a:xfrm>
        </p:grpSpPr>
        <p:sp>
          <p:nvSpPr>
            <p:cNvPr id="32" name="Rounded Rectangle">
              <a:extLst>
                <a:ext uri="{FF2B5EF4-FFF2-40B4-BE49-F238E27FC236}">
                  <a16:creationId xmlns:a16="http://schemas.microsoft.com/office/drawing/2014/main" id="{B744BFB1-CFCA-498F-AD7F-89670F25039F}"/>
                </a:ext>
              </a:extLst>
            </p:cNvPr>
            <p:cNvSpPr/>
            <p:nvPr/>
          </p:nvSpPr>
          <p:spPr>
            <a:xfrm>
              <a:off x="630183" y="2161919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3" name="Motion design">
              <a:extLst>
                <a:ext uri="{FF2B5EF4-FFF2-40B4-BE49-F238E27FC236}">
                  <a16:creationId xmlns:a16="http://schemas.microsoft.com/office/drawing/2014/main" id="{E108F937-A35C-4715-8D2B-DFE81E5BD5DA}"/>
                </a:ext>
              </a:extLst>
            </p:cNvPr>
            <p:cNvSpPr txBox="1"/>
            <p:nvPr/>
          </p:nvSpPr>
          <p:spPr>
            <a:xfrm>
              <a:off x="1554545" y="2269161"/>
              <a:ext cx="3812583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en-US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CDI – </a:t>
              </a:r>
              <a: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это лишь способ добраться от бизнеса до клиента</a:t>
              </a:r>
            </a:p>
          </p:txBody>
        </p:sp>
        <p:sp>
          <p:nvSpPr>
            <p:cNvPr id="34" name="Circle">
              <a:extLst>
                <a:ext uri="{FF2B5EF4-FFF2-40B4-BE49-F238E27FC236}">
                  <a16:creationId xmlns:a16="http://schemas.microsoft.com/office/drawing/2014/main" id="{A78C067F-7496-4008-8961-09102CAA2272}"/>
                </a:ext>
              </a:extLst>
            </p:cNvPr>
            <p:cNvSpPr/>
            <p:nvPr/>
          </p:nvSpPr>
          <p:spPr>
            <a:xfrm>
              <a:off x="756367" y="2267808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35" name="Рисунок 34">
              <a:extLst>
                <a:ext uri="{FF2B5EF4-FFF2-40B4-BE49-F238E27FC236}">
                  <a16:creationId xmlns:a16="http://schemas.microsoft.com/office/drawing/2014/main" id="{605965C2-08B5-495D-B953-06A8729FC91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928928" y="2397705"/>
              <a:ext cx="290209" cy="367029"/>
            </a:xfrm>
            <a:prstGeom prst="rect">
              <a:avLst/>
            </a:prstGeom>
          </p:spPr>
        </p:pic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9A508963-EDE7-4ACC-9450-99F7DBC76EFB}"/>
              </a:ext>
            </a:extLst>
          </p:cNvPr>
          <p:cNvGrpSpPr/>
          <p:nvPr/>
        </p:nvGrpSpPr>
        <p:grpSpPr>
          <a:xfrm>
            <a:off x="630183" y="3220005"/>
            <a:ext cx="5051622" cy="847113"/>
            <a:chOff x="630183" y="3220005"/>
            <a:chExt cx="5051622" cy="847113"/>
          </a:xfrm>
        </p:grpSpPr>
        <p:sp>
          <p:nvSpPr>
            <p:cNvPr id="37" name="Rounded Rectangle">
              <a:extLst>
                <a:ext uri="{FF2B5EF4-FFF2-40B4-BE49-F238E27FC236}">
                  <a16:creationId xmlns:a16="http://schemas.microsoft.com/office/drawing/2014/main" id="{2B6D089B-7016-4A9C-9FD9-05B55330169C}"/>
                </a:ext>
              </a:extLst>
            </p:cNvPr>
            <p:cNvSpPr/>
            <p:nvPr/>
          </p:nvSpPr>
          <p:spPr>
            <a:xfrm>
              <a:off x="630183" y="3220005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38" name="Motion design">
              <a:extLst>
                <a:ext uri="{FF2B5EF4-FFF2-40B4-BE49-F238E27FC236}">
                  <a16:creationId xmlns:a16="http://schemas.microsoft.com/office/drawing/2014/main" id="{9C664B64-1855-4132-A685-4B1819A70BB9}"/>
                </a:ext>
              </a:extLst>
            </p:cNvPr>
            <p:cNvSpPr txBox="1"/>
            <p:nvPr/>
          </p:nvSpPr>
          <p:spPr>
            <a:xfrm>
              <a:off x="1554547" y="3327247"/>
              <a:ext cx="3918601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Что именно предлагать клиенту – </a:t>
              </a:r>
              <a:b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решает только бизнес</a:t>
              </a:r>
            </a:p>
          </p:txBody>
        </p:sp>
        <p:sp>
          <p:nvSpPr>
            <p:cNvPr id="39" name="Circle">
              <a:extLst>
                <a:ext uri="{FF2B5EF4-FFF2-40B4-BE49-F238E27FC236}">
                  <a16:creationId xmlns:a16="http://schemas.microsoft.com/office/drawing/2014/main" id="{6C6EC9EB-56AD-4278-A5A6-7C00A5DBA892}"/>
                </a:ext>
              </a:extLst>
            </p:cNvPr>
            <p:cNvSpPr/>
            <p:nvPr/>
          </p:nvSpPr>
          <p:spPr>
            <a:xfrm>
              <a:off x="756367" y="3325894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0" name="Рисунок 39">
              <a:extLst>
                <a:ext uri="{FF2B5EF4-FFF2-40B4-BE49-F238E27FC236}">
                  <a16:creationId xmlns:a16="http://schemas.microsoft.com/office/drawing/2014/main" id="{C627ACE0-69E6-4A51-9A92-527F6CD4F9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00404" y="3520505"/>
              <a:ext cx="365921" cy="263804"/>
            </a:xfrm>
            <a:prstGeom prst="rect">
              <a:avLst/>
            </a:prstGeom>
          </p:spPr>
        </p:pic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715463D9-58A6-4927-A5AB-A9044197C834}"/>
              </a:ext>
            </a:extLst>
          </p:cNvPr>
          <p:cNvGrpSpPr/>
          <p:nvPr/>
        </p:nvGrpSpPr>
        <p:grpSpPr>
          <a:xfrm>
            <a:off x="630183" y="4278473"/>
            <a:ext cx="5051622" cy="847113"/>
            <a:chOff x="630183" y="4278473"/>
            <a:chExt cx="5051622" cy="847113"/>
          </a:xfrm>
        </p:grpSpPr>
        <p:sp>
          <p:nvSpPr>
            <p:cNvPr id="42" name="Rounded Rectangle">
              <a:extLst>
                <a:ext uri="{FF2B5EF4-FFF2-40B4-BE49-F238E27FC236}">
                  <a16:creationId xmlns:a16="http://schemas.microsoft.com/office/drawing/2014/main" id="{4F747F0B-D7A1-4F5A-A288-5BB949E98E63}"/>
                </a:ext>
              </a:extLst>
            </p:cNvPr>
            <p:cNvSpPr/>
            <p:nvPr/>
          </p:nvSpPr>
          <p:spPr>
            <a:xfrm>
              <a:off x="630183" y="4278473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43" name="Motion design">
              <a:extLst>
                <a:ext uri="{FF2B5EF4-FFF2-40B4-BE49-F238E27FC236}">
                  <a16:creationId xmlns:a16="http://schemas.microsoft.com/office/drawing/2014/main" id="{E6BFEEF7-80D5-4831-96DD-E8CC80BD7F77}"/>
                </a:ext>
              </a:extLst>
            </p:cNvPr>
            <p:cNvSpPr txBox="1"/>
            <p:nvPr/>
          </p:nvSpPr>
          <p:spPr>
            <a:xfrm>
              <a:off x="1554547" y="4385717"/>
              <a:ext cx="3515164" cy="61144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Чем больше мы пониманием – </a:t>
              </a:r>
              <a:b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</a:br>
              <a:r>
                <a:rPr lang="ru-RU" sz="16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тем больше предложений</a:t>
              </a:r>
              <a:endParaRPr lang="ru-RU" sz="1600" b="1" dirty="0">
                <a:solidFill>
                  <a:srgbClr val="0D0D0D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  <p:sp>
          <p:nvSpPr>
            <p:cNvPr id="44" name="Circle">
              <a:extLst>
                <a:ext uri="{FF2B5EF4-FFF2-40B4-BE49-F238E27FC236}">
                  <a16:creationId xmlns:a16="http://schemas.microsoft.com/office/drawing/2014/main" id="{BF49BA54-1D51-45DB-80AF-7D8E6D535672}"/>
                </a:ext>
              </a:extLst>
            </p:cNvPr>
            <p:cNvSpPr/>
            <p:nvPr/>
          </p:nvSpPr>
          <p:spPr>
            <a:xfrm>
              <a:off x="756367" y="4384362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algn="ctr" defTabSz="309563" hangingPunct="0">
                <a:buClrTx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45" name="Рисунок 44">
              <a:extLst>
                <a:ext uri="{FF2B5EF4-FFF2-40B4-BE49-F238E27FC236}">
                  <a16:creationId xmlns:a16="http://schemas.microsoft.com/office/drawing/2014/main" id="{23E75551-03D8-463B-B6DA-5F1B19784EA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861157" y="4557441"/>
              <a:ext cx="425754" cy="283836"/>
            </a:xfrm>
            <a:prstGeom prst="rect">
              <a:avLst/>
            </a:prstGeom>
          </p:spPr>
        </p:pic>
      </p:grpSp>
      <p:grpSp>
        <p:nvGrpSpPr>
          <p:cNvPr id="28" name="HFLabs Logo">
            <a:extLst>
              <a:ext uri="{FF2B5EF4-FFF2-40B4-BE49-F238E27FC236}">
                <a16:creationId xmlns:a16="http://schemas.microsoft.com/office/drawing/2014/main" id="{49A44BAB-13BC-43B6-B7F9-ABE8D91BAED8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29" name="Полилиния: фигура 28">
              <a:extLst>
                <a:ext uri="{FF2B5EF4-FFF2-40B4-BE49-F238E27FC236}">
                  <a16:creationId xmlns:a16="http://schemas.microsoft.com/office/drawing/2014/main" id="{C18B3078-9C39-414F-A153-676026740695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30" name="Полилиния: фигура 29">
              <a:extLst>
                <a:ext uri="{FF2B5EF4-FFF2-40B4-BE49-F238E27FC236}">
                  <a16:creationId xmlns:a16="http://schemas.microsoft.com/office/drawing/2014/main" id="{39457B9F-F27B-4BA4-B092-18C2AB06222D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31" name="Полилиния: фигура 30">
              <a:extLst>
                <a:ext uri="{FF2B5EF4-FFF2-40B4-BE49-F238E27FC236}">
                  <a16:creationId xmlns:a16="http://schemas.microsoft.com/office/drawing/2014/main" id="{0A16AA25-C7E6-469A-B580-4B007604F292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46" name="Полилиния: фигура 45">
              <a:extLst>
                <a:ext uri="{FF2B5EF4-FFF2-40B4-BE49-F238E27FC236}">
                  <a16:creationId xmlns:a16="http://schemas.microsoft.com/office/drawing/2014/main" id="{52769241-7E9B-4A0C-964C-C161BBB7A1B2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47" name="Заголовок">
            <a:extLst>
              <a:ext uri="{FF2B5EF4-FFF2-40B4-BE49-F238E27FC236}">
                <a16:creationId xmlns:a16="http://schemas.microsoft.com/office/drawing/2014/main" id="{961BCA4F-50D3-45B0-A0E7-4FBE05158112}"/>
              </a:ext>
            </a:extLst>
          </p:cNvPr>
          <p:cNvSpPr txBox="1"/>
          <p:nvPr/>
        </p:nvSpPr>
        <p:spPr>
          <a:xfrm>
            <a:off x="552786" y="384437"/>
            <a:ext cx="3498073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Заключение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grpSp>
        <p:nvGrpSpPr>
          <p:cNvPr id="48" name="Рисунок 2">
            <a:extLst>
              <a:ext uri="{FF2B5EF4-FFF2-40B4-BE49-F238E27FC236}">
                <a16:creationId xmlns:a16="http://schemas.microsoft.com/office/drawing/2014/main" id="{0AF6C213-29F9-46E5-AD0E-AF41B2C045D7}"/>
              </a:ext>
            </a:extLst>
          </p:cNvPr>
          <p:cNvGrpSpPr/>
          <p:nvPr/>
        </p:nvGrpSpPr>
        <p:grpSpPr>
          <a:xfrm>
            <a:off x="6722603" y="1023778"/>
            <a:ext cx="4916611" cy="4768551"/>
            <a:chOff x="6487223" y="904262"/>
            <a:chExt cx="5272735" cy="5113950"/>
          </a:xfrm>
        </p:grpSpPr>
        <p:sp>
          <p:nvSpPr>
            <p:cNvPr id="49" name="Полилиния: фигура 48">
              <a:extLst>
                <a:ext uri="{FF2B5EF4-FFF2-40B4-BE49-F238E27FC236}">
                  <a16:creationId xmlns:a16="http://schemas.microsoft.com/office/drawing/2014/main" id="{9FF24AE0-BEFB-4CE1-9B7B-F1DC23FDD164}"/>
                </a:ext>
              </a:extLst>
            </p:cNvPr>
            <p:cNvSpPr/>
            <p:nvPr/>
          </p:nvSpPr>
          <p:spPr>
            <a:xfrm>
              <a:off x="6487223" y="904262"/>
              <a:ext cx="5272735" cy="5113950"/>
            </a:xfrm>
            <a:custGeom>
              <a:avLst/>
              <a:gdLst>
                <a:gd name="connsiteX0" fmla="*/ 4705506 w 5272735"/>
                <a:gd name="connsiteY0" fmla="*/ 913698 h 5113950"/>
                <a:gd name="connsiteX1" fmla="*/ 4594811 w 5272735"/>
                <a:gd name="connsiteY1" fmla="*/ 862646 h 5113950"/>
                <a:gd name="connsiteX2" fmla="*/ 1666801 w 5272735"/>
                <a:gd name="connsiteY2" fmla="*/ 32494 h 5113950"/>
                <a:gd name="connsiteX3" fmla="*/ 127776 w 5272735"/>
                <a:gd name="connsiteY3" fmla="*/ 3707229 h 5113950"/>
                <a:gd name="connsiteX4" fmla="*/ 3544264 w 5272735"/>
                <a:gd name="connsiteY4" fmla="*/ 5060351 h 5113950"/>
                <a:gd name="connsiteX5" fmla="*/ 5272555 w 5272735"/>
                <a:gd name="connsiteY5" fmla="*/ 1695040 h 5113950"/>
                <a:gd name="connsiteX6" fmla="*/ 4705506 w 5272735"/>
                <a:gd name="connsiteY6" fmla="*/ 913823 h 511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2735" h="5113950">
                  <a:moveTo>
                    <a:pt x="4705506" y="913698"/>
                  </a:moveTo>
                  <a:cubicBezTo>
                    <a:pt x="4668400" y="897138"/>
                    <a:pt x="4631543" y="880203"/>
                    <a:pt x="4594811" y="862646"/>
                  </a:cubicBezTo>
                  <a:cubicBezTo>
                    <a:pt x="4200217" y="674377"/>
                    <a:pt x="2357993" y="-175324"/>
                    <a:pt x="1666801" y="32494"/>
                  </a:cubicBezTo>
                  <a:cubicBezTo>
                    <a:pt x="890814" y="265838"/>
                    <a:pt x="-413249" y="3028613"/>
                    <a:pt x="127776" y="3707229"/>
                  </a:cubicBezTo>
                  <a:cubicBezTo>
                    <a:pt x="668801" y="4385845"/>
                    <a:pt x="3007348" y="5352592"/>
                    <a:pt x="3544264" y="5060351"/>
                  </a:cubicBezTo>
                  <a:cubicBezTo>
                    <a:pt x="4081179" y="4768111"/>
                    <a:pt x="5260228" y="2267070"/>
                    <a:pt x="5272555" y="1695040"/>
                  </a:cubicBezTo>
                  <a:cubicBezTo>
                    <a:pt x="5283014" y="1206561"/>
                    <a:pt x="4836373" y="971972"/>
                    <a:pt x="4705506" y="913823"/>
                  </a:cubicBezTo>
                  <a:close/>
                </a:path>
              </a:pathLst>
            </a:custGeom>
            <a:solidFill>
              <a:srgbClr val="CA4943"/>
            </a:solidFill>
            <a:ln w="124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50" name="Полилиния: фигура 49">
              <a:extLst>
                <a:ext uri="{FF2B5EF4-FFF2-40B4-BE49-F238E27FC236}">
                  <a16:creationId xmlns:a16="http://schemas.microsoft.com/office/drawing/2014/main" id="{B1AEAC47-2592-4830-95AD-AB0330A7D79D}"/>
                </a:ext>
              </a:extLst>
            </p:cNvPr>
            <p:cNvSpPr/>
            <p:nvPr/>
          </p:nvSpPr>
          <p:spPr>
            <a:xfrm>
              <a:off x="6487223" y="904262"/>
              <a:ext cx="5272735" cy="5113950"/>
            </a:xfrm>
            <a:custGeom>
              <a:avLst/>
              <a:gdLst>
                <a:gd name="connsiteX0" fmla="*/ 4705506 w 5272735"/>
                <a:gd name="connsiteY0" fmla="*/ 913698 h 5113950"/>
                <a:gd name="connsiteX1" fmla="*/ 4594811 w 5272735"/>
                <a:gd name="connsiteY1" fmla="*/ 862646 h 5113950"/>
                <a:gd name="connsiteX2" fmla="*/ 1666801 w 5272735"/>
                <a:gd name="connsiteY2" fmla="*/ 32494 h 5113950"/>
                <a:gd name="connsiteX3" fmla="*/ 127776 w 5272735"/>
                <a:gd name="connsiteY3" fmla="*/ 3707229 h 5113950"/>
                <a:gd name="connsiteX4" fmla="*/ 3544264 w 5272735"/>
                <a:gd name="connsiteY4" fmla="*/ 5060351 h 5113950"/>
                <a:gd name="connsiteX5" fmla="*/ 5272555 w 5272735"/>
                <a:gd name="connsiteY5" fmla="*/ 1695040 h 5113950"/>
                <a:gd name="connsiteX6" fmla="*/ 4705506 w 5272735"/>
                <a:gd name="connsiteY6" fmla="*/ 913823 h 51139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5272735" h="5113950">
                  <a:moveTo>
                    <a:pt x="4705506" y="913698"/>
                  </a:moveTo>
                  <a:cubicBezTo>
                    <a:pt x="4668400" y="897138"/>
                    <a:pt x="4631543" y="880203"/>
                    <a:pt x="4594811" y="862646"/>
                  </a:cubicBezTo>
                  <a:cubicBezTo>
                    <a:pt x="4200217" y="674377"/>
                    <a:pt x="2357993" y="-175324"/>
                    <a:pt x="1666801" y="32494"/>
                  </a:cubicBezTo>
                  <a:cubicBezTo>
                    <a:pt x="890814" y="265838"/>
                    <a:pt x="-413249" y="3028613"/>
                    <a:pt x="127776" y="3707229"/>
                  </a:cubicBezTo>
                  <a:cubicBezTo>
                    <a:pt x="668801" y="4385845"/>
                    <a:pt x="3007348" y="5352592"/>
                    <a:pt x="3544264" y="5060351"/>
                  </a:cubicBezTo>
                  <a:cubicBezTo>
                    <a:pt x="4081179" y="4768111"/>
                    <a:pt x="5260228" y="2267070"/>
                    <a:pt x="5272555" y="1695040"/>
                  </a:cubicBezTo>
                  <a:cubicBezTo>
                    <a:pt x="5283014" y="1206561"/>
                    <a:pt x="4836373" y="971972"/>
                    <a:pt x="4705506" y="913823"/>
                  </a:cubicBezTo>
                  <a:close/>
                </a:path>
              </a:pathLst>
            </a:custGeom>
            <a:solidFill>
              <a:srgbClr val="FFFFFF">
                <a:alpha val="70000"/>
              </a:srgbClr>
            </a:solidFill>
            <a:ln w="1243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</p:grpSp>
      <p:pic>
        <p:nvPicPr>
          <p:cNvPr id="51" name="Рисунок 50">
            <a:extLst>
              <a:ext uri="{FF2B5EF4-FFF2-40B4-BE49-F238E27FC236}">
                <a16:creationId xmlns:a16="http://schemas.microsoft.com/office/drawing/2014/main" id="{DBD09020-393F-4DAA-AC84-844782AFB74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/>
          <a:stretch>
            <a:fillRect/>
          </a:stretch>
        </p:blipFill>
        <p:spPr>
          <a:xfrm>
            <a:off x="7361080" y="2342321"/>
            <a:ext cx="3657551" cy="3424091"/>
          </a:xfrm>
          <a:custGeom>
            <a:avLst/>
            <a:gdLst>
              <a:gd name="connsiteX0" fmla="*/ 0 w 3922478"/>
              <a:gd name="connsiteY0" fmla="*/ 0 h 3672107"/>
              <a:gd name="connsiteX1" fmla="*/ 3922478 w 3922478"/>
              <a:gd name="connsiteY1" fmla="*/ 0 h 3672107"/>
              <a:gd name="connsiteX2" fmla="*/ 3922478 w 3922478"/>
              <a:gd name="connsiteY2" fmla="*/ 2065952 h 3672107"/>
              <a:gd name="connsiteX3" fmla="*/ 3784189 w 3922478"/>
              <a:gd name="connsiteY3" fmla="*/ 2337062 h 3672107"/>
              <a:gd name="connsiteX4" fmla="*/ 2857597 w 3922478"/>
              <a:gd name="connsiteY4" fmla="*/ 3649030 h 3672107"/>
              <a:gd name="connsiteX5" fmla="*/ 2803680 w 3922478"/>
              <a:gd name="connsiteY5" fmla="*/ 3672107 h 3672107"/>
              <a:gd name="connsiteX6" fmla="*/ 2268444 w 3922478"/>
              <a:gd name="connsiteY6" fmla="*/ 3672107 h 3672107"/>
              <a:gd name="connsiteX7" fmla="*/ 2169898 w 3922478"/>
              <a:gd name="connsiteY7" fmla="*/ 3656361 h 3672107"/>
              <a:gd name="connsiteX8" fmla="*/ 113939 w 3922478"/>
              <a:gd name="connsiteY8" fmla="*/ 2830623 h 3672107"/>
              <a:gd name="connsiteX9" fmla="*/ 0 w 3922478"/>
              <a:gd name="connsiteY9" fmla="*/ 2758537 h 36721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22478" h="3672107">
                <a:moveTo>
                  <a:pt x="0" y="0"/>
                </a:moveTo>
                <a:lnTo>
                  <a:pt x="3922478" y="0"/>
                </a:lnTo>
                <a:lnTo>
                  <a:pt x="3922478" y="2065952"/>
                </a:lnTo>
                <a:lnTo>
                  <a:pt x="3784189" y="2337062"/>
                </a:lnTo>
                <a:cubicBezTo>
                  <a:pt x="3453289" y="2967127"/>
                  <a:pt x="3093680" y="3520532"/>
                  <a:pt x="2857597" y="3649030"/>
                </a:cubicBezTo>
                <a:lnTo>
                  <a:pt x="2803680" y="3672107"/>
                </a:lnTo>
                <a:lnTo>
                  <a:pt x="2268444" y="3672107"/>
                </a:lnTo>
                <a:lnTo>
                  <a:pt x="2169898" y="3656361"/>
                </a:lnTo>
                <a:cubicBezTo>
                  <a:pt x="1560454" y="3535477"/>
                  <a:pt x="724415" y="3195443"/>
                  <a:pt x="113939" y="2830623"/>
                </a:cubicBezTo>
                <a:lnTo>
                  <a:pt x="0" y="2758537"/>
                </a:lnTo>
                <a:close/>
              </a:path>
            </a:pathLst>
          </a:custGeom>
        </p:spPr>
      </p:pic>
      <p:pic>
        <p:nvPicPr>
          <p:cNvPr id="52" name="Рисунок 51">
            <a:extLst>
              <a:ext uri="{FF2B5EF4-FFF2-40B4-BE49-F238E27FC236}">
                <a16:creationId xmlns:a16="http://schemas.microsoft.com/office/drawing/2014/main" id="{9EC17165-8771-4D64-948D-93F61510354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462068" y="1316070"/>
            <a:ext cx="666636" cy="766990"/>
          </a:xfrm>
          <a:prstGeom prst="rect">
            <a:avLst/>
          </a:prstGeom>
        </p:spPr>
      </p:pic>
      <p:pic>
        <p:nvPicPr>
          <p:cNvPr id="53" name="Рисунок 52">
            <a:extLst>
              <a:ext uri="{FF2B5EF4-FFF2-40B4-BE49-F238E27FC236}">
                <a16:creationId xmlns:a16="http://schemas.microsoft.com/office/drawing/2014/main" id="{47DF814D-19E9-49AE-AB51-AD81D96A211E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7182879" y="1212132"/>
            <a:ext cx="688141" cy="974866"/>
          </a:xfrm>
          <a:prstGeom prst="rect">
            <a:avLst/>
          </a:prstGeom>
        </p:spPr>
      </p:pic>
      <p:grpSp>
        <p:nvGrpSpPr>
          <p:cNvPr id="54" name="Группа 53">
            <a:extLst>
              <a:ext uri="{FF2B5EF4-FFF2-40B4-BE49-F238E27FC236}">
                <a16:creationId xmlns:a16="http://schemas.microsoft.com/office/drawing/2014/main" id="{78EBCD79-5DCA-4D85-9D6B-65142BACC6C3}"/>
              </a:ext>
            </a:extLst>
          </p:cNvPr>
          <p:cNvGrpSpPr/>
          <p:nvPr/>
        </p:nvGrpSpPr>
        <p:grpSpPr>
          <a:xfrm>
            <a:off x="8577840" y="647681"/>
            <a:ext cx="1231880" cy="3505613"/>
            <a:chOff x="8577840" y="647681"/>
            <a:chExt cx="1231880" cy="3505613"/>
          </a:xfrm>
        </p:grpSpPr>
        <p:grpSp>
          <p:nvGrpSpPr>
            <p:cNvPr id="55" name="Рисунок 2">
              <a:extLst>
                <a:ext uri="{FF2B5EF4-FFF2-40B4-BE49-F238E27FC236}">
                  <a16:creationId xmlns:a16="http://schemas.microsoft.com/office/drawing/2014/main" id="{1040896B-6E49-441C-A705-B4641321F813}"/>
                </a:ext>
              </a:extLst>
            </p:cNvPr>
            <p:cNvGrpSpPr/>
            <p:nvPr/>
          </p:nvGrpSpPr>
          <p:grpSpPr>
            <a:xfrm>
              <a:off x="8577840" y="647681"/>
              <a:ext cx="1231880" cy="3505613"/>
              <a:chOff x="8476840" y="775254"/>
              <a:chExt cx="1321109" cy="3759534"/>
            </a:xfrm>
          </p:grpSpPr>
          <p:sp>
            <p:nvSpPr>
              <p:cNvPr id="57" name="Полилиния: фигура 56">
                <a:extLst>
                  <a:ext uri="{FF2B5EF4-FFF2-40B4-BE49-F238E27FC236}">
                    <a16:creationId xmlns:a16="http://schemas.microsoft.com/office/drawing/2014/main" id="{55B8AB07-39E6-4005-A6D7-17A668802A90}"/>
                  </a:ext>
                </a:extLst>
              </p:cNvPr>
              <p:cNvSpPr/>
              <p:nvPr/>
            </p:nvSpPr>
            <p:spPr>
              <a:xfrm>
                <a:off x="8476840" y="1352143"/>
                <a:ext cx="1321109" cy="1147545"/>
              </a:xfrm>
              <a:custGeom>
                <a:avLst/>
                <a:gdLst>
                  <a:gd name="connsiteX0" fmla="*/ 1315699 w 1321109"/>
                  <a:gd name="connsiteY0" fmla="*/ 835258 h 1147545"/>
                  <a:gd name="connsiteX1" fmla="*/ 1150714 w 1321109"/>
                  <a:gd name="connsiteY1" fmla="*/ 193997 h 1147545"/>
                  <a:gd name="connsiteX2" fmla="*/ 793352 w 1321109"/>
                  <a:gd name="connsiteY2" fmla="*/ 30756 h 1147545"/>
                  <a:gd name="connsiteX3" fmla="*/ 660492 w 1321109"/>
                  <a:gd name="connsiteY3" fmla="*/ 0 h 1147545"/>
                  <a:gd name="connsiteX4" fmla="*/ 527633 w 1321109"/>
                  <a:gd name="connsiteY4" fmla="*/ 30756 h 1147545"/>
                  <a:gd name="connsiteX5" fmla="*/ 170270 w 1321109"/>
                  <a:gd name="connsiteY5" fmla="*/ 193997 h 1147545"/>
                  <a:gd name="connsiteX6" fmla="*/ 5286 w 1321109"/>
                  <a:gd name="connsiteY6" fmla="*/ 835258 h 1147545"/>
                  <a:gd name="connsiteX7" fmla="*/ 37411 w 1321109"/>
                  <a:gd name="connsiteY7" fmla="*/ 955914 h 1147545"/>
                  <a:gd name="connsiteX8" fmla="*/ 314585 w 1321109"/>
                  <a:gd name="connsiteY8" fmla="*/ 1147545 h 1147545"/>
                  <a:gd name="connsiteX9" fmla="*/ 332889 w 1321109"/>
                  <a:gd name="connsiteY9" fmla="*/ 1010328 h 1147545"/>
                  <a:gd name="connsiteX10" fmla="*/ 190816 w 1321109"/>
                  <a:gd name="connsiteY10" fmla="*/ 837623 h 1147545"/>
                  <a:gd name="connsiteX11" fmla="*/ 326041 w 1321109"/>
                  <a:gd name="connsiteY11" fmla="*/ 655456 h 1147545"/>
                  <a:gd name="connsiteX12" fmla="*/ 995069 w 1321109"/>
                  <a:gd name="connsiteY12" fmla="*/ 655456 h 1147545"/>
                  <a:gd name="connsiteX13" fmla="*/ 1130294 w 1321109"/>
                  <a:gd name="connsiteY13" fmla="*/ 837623 h 1147545"/>
                  <a:gd name="connsiteX14" fmla="*/ 988220 w 1321109"/>
                  <a:gd name="connsiteY14" fmla="*/ 1010328 h 1147545"/>
                  <a:gd name="connsiteX15" fmla="*/ 1006524 w 1321109"/>
                  <a:gd name="connsiteY15" fmla="*/ 1147545 h 1147545"/>
                  <a:gd name="connsiteX16" fmla="*/ 1283698 w 1321109"/>
                  <a:gd name="connsiteY16" fmla="*/ 955914 h 1147545"/>
                  <a:gd name="connsiteX17" fmla="*/ 1315823 w 1321109"/>
                  <a:gd name="connsiteY17" fmla="*/ 835258 h 114754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</a:cxnLst>
                <a:rect l="l" t="t" r="r" b="b"/>
                <a:pathLst>
                  <a:path w="1321109" h="1147545">
                    <a:moveTo>
                      <a:pt x="1315699" y="835258"/>
                    </a:moveTo>
                    <a:cubicBezTo>
                      <a:pt x="1302002" y="778478"/>
                      <a:pt x="1171384" y="236582"/>
                      <a:pt x="1150714" y="193997"/>
                    </a:cubicBezTo>
                    <a:cubicBezTo>
                      <a:pt x="1130045" y="151412"/>
                      <a:pt x="793352" y="30756"/>
                      <a:pt x="793352" y="30756"/>
                    </a:cubicBezTo>
                    <a:lnTo>
                      <a:pt x="660492" y="0"/>
                    </a:lnTo>
                    <a:lnTo>
                      <a:pt x="527633" y="30756"/>
                    </a:lnTo>
                    <a:cubicBezTo>
                      <a:pt x="527633" y="30756"/>
                      <a:pt x="190816" y="151412"/>
                      <a:pt x="170270" y="193997"/>
                    </a:cubicBezTo>
                    <a:cubicBezTo>
                      <a:pt x="149725" y="236582"/>
                      <a:pt x="19107" y="778478"/>
                      <a:pt x="5286" y="835258"/>
                    </a:cubicBezTo>
                    <a:cubicBezTo>
                      <a:pt x="-8411" y="892037"/>
                      <a:pt x="5286" y="929890"/>
                      <a:pt x="37411" y="955914"/>
                    </a:cubicBezTo>
                    <a:cubicBezTo>
                      <a:pt x="69536" y="981938"/>
                      <a:pt x="314585" y="1147545"/>
                      <a:pt x="314585" y="1147545"/>
                    </a:cubicBezTo>
                    <a:lnTo>
                      <a:pt x="332889" y="1010328"/>
                    </a:lnTo>
                    <a:lnTo>
                      <a:pt x="190816" y="837623"/>
                    </a:lnTo>
                    <a:lnTo>
                      <a:pt x="326041" y="655456"/>
                    </a:lnTo>
                    <a:lnTo>
                      <a:pt x="995069" y="655456"/>
                    </a:lnTo>
                    <a:lnTo>
                      <a:pt x="1130294" y="837623"/>
                    </a:lnTo>
                    <a:lnTo>
                      <a:pt x="988220" y="1010328"/>
                    </a:lnTo>
                    <a:lnTo>
                      <a:pt x="1006524" y="1147545"/>
                    </a:lnTo>
                    <a:cubicBezTo>
                      <a:pt x="1006524" y="1147545"/>
                      <a:pt x="1251697" y="981938"/>
                      <a:pt x="1283698" y="955914"/>
                    </a:cubicBezTo>
                    <a:cubicBezTo>
                      <a:pt x="1315823" y="929890"/>
                      <a:pt x="1329520" y="892037"/>
                      <a:pt x="1315823" y="835258"/>
                    </a:cubicBezTo>
                    <a:close/>
                  </a:path>
                </a:pathLst>
              </a:custGeom>
              <a:solidFill>
                <a:srgbClr val="CA4943"/>
              </a:solidFill>
              <a:ln w="124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58" name="Рисунок 2">
                <a:extLst>
                  <a:ext uri="{FF2B5EF4-FFF2-40B4-BE49-F238E27FC236}">
                    <a16:creationId xmlns:a16="http://schemas.microsoft.com/office/drawing/2014/main" id="{20E67CD9-16F5-4EEE-94CF-68740CD4EA73}"/>
                  </a:ext>
                </a:extLst>
              </p:cNvPr>
              <p:cNvGrpSpPr/>
              <p:nvPr/>
            </p:nvGrpSpPr>
            <p:grpSpPr>
              <a:xfrm>
                <a:off x="8629429" y="2256757"/>
                <a:ext cx="1023900" cy="242931"/>
                <a:chOff x="8629429" y="2256757"/>
                <a:chExt cx="1023900" cy="242931"/>
              </a:xfrm>
              <a:solidFill>
                <a:srgbClr val="263238"/>
              </a:solidFill>
            </p:grpSpPr>
            <p:sp>
              <p:nvSpPr>
                <p:cNvPr id="112" name="Полилиния: фигура 111">
                  <a:extLst>
                    <a:ext uri="{FF2B5EF4-FFF2-40B4-BE49-F238E27FC236}">
                      <a16:creationId xmlns:a16="http://schemas.microsoft.com/office/drawing/2014/main" id="{4E4DCE13-547A-449B-890E-B681892D66DD}"/>
                    </a:ext>
                  </a:extLst>
                </p:cNvPr>
                <p:cNvSpPr/>
                <p:nvPr/>
              </p:nvSpPr>
              <p:spPr>
                <a:xfrm>
                  <a:off x="8629429" y="2256757"/>
                  <a:ext cx="180175" cy="242931"/>
                </a:xfrm>
                <a:custGeom>
                  <a:avLst/>
                  <a:gdLst>
                    <a:gd name="connsiteX0" fmla="*/ 0 w 180175"/>
                    <a:gd name="connsiteY0" fmla="*/ 132735 h 242931"/>
                    <a:gd name="connsiteX1" fmla="*/ 161872 w 180175"/>
                    <a:gd name="connsiteY1" fmla="*/ 242932 h 242931"/>
                    <a:gd name="connsiteX2" fmla="*/ 180176 w 180175"/>
                    <a:gd name="connsiteY2" fmla="*/ 105715 h 242931"/>
                    <a:gd name="connsiteX3" fmla="*/ 93263 w 180175"/>
                    <a:gd name="connsiteY3" fmla="*/ 0 h 242931"/>
                    <a:gd name="connsiteX4" fmla="*/ 0 w 180175"/>
                    <a:gd name="connsiteY4" fmla="*/ 132735 h 2429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0175" h="242931">
                      <a:moveTo>
                        <a:pt x="0" y="132735"/>
                      </a:moveTo>
                      <a:cubicBezTo>
                        <a:pt x="76578" y="185405"/>
                        <a:pt x="161872" y="242932"/>
                        <a:pt x="161872" y="242932"/>
                      </a:cubicBezTo>
                      <a:lnTo>
                        <a:pt x="180176" y="105715"/>
                      </a:lnTo>
                      <a:lnTo>
                        <a:pt x="93263" y="0"/>
                      </a:lnTo>
                      <a:lnTo>
                        <a:pt x="0" y="132735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13" name="Полилиния: фигура 112">
                  <a:extLst>
                    <a:ext uri="{FF2B5EF4-FFF2-40B4-BE49-F238E27FC236}">
                      <a16:creationId xmlns:a16="http://schemas.microsoft.com/office/drawing/2014/main" id="{9CBF63BC-2DE8-4899-B6A8-2069E4952C86}"/>
                    </a:ext>
                  </a:extLst>
                </p:cNvPr>
                <p:cNvSpPr/>
                <p:nvPr/>
              </p:nvSpPr>
              <p:spPr>
                <a:xfrm>
                  <a:off x="9464811" y="2269208"/>
                  <a:ext cx="188518" cy="230480"/>
                </a:xfrm>
                <a:custGeom>
                  <a:avLst/>
                  <a:gdLst>
                    <a:gd name="connsiteX0" fmla="*/ 124 w 188518"/>
                    <a:gd name="connsiteY0" fmla="*/ 93263 h 230480"/>
                    <a:gd name="connsiteX1" fmla="*/ 18428 w 188518"/>
                    <a:gd name="connsiteY1" fmla="*/ 230480 h 230480"/>
                    <a:gd name="connsiteX2" fmla="*/ 188518 w 188518"/>
                    <a:gd name="connsiteY2" fmla="*/ 114555 h 230480"/>
                    <a:gd name="connsiteX3" fmla="*/ 76702 w 188518"/>
                    <a:gd name="connsiteY3" fmla="*/ 0 h 230480"/>
                    <a:gd name="connsiteX4" fmla="*/ 0 w 188518"/>
                    <a:gd name="connsiteY4" fmla="*/ 93263 h 23048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188518" h="230480">
                      <a:moveTo>
                        <a:pt x="124" y="93263"/>
                      </a:moveTo>
                      <a:lnTo>
                        <a:pt x="18428" y="230480"/>
                      </a:lnTo>
                      <a:cubicBezTo>
                        <a:pt x="18428" y="230480"/>
                        <a:pt x="109948" y="168595"/>
                        <a:pt x="188518" y="114555"/>
                      </a:cubicBezTo>
                      <a:lnTo>
                        <a:pt x="76702" y="0"/>
                      </a:lnTo>
                      <a:lnTo>
                        <a:pt x="0" y="9326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59" name="Полилиния: фигура 58">
                <a:extLst>
                  <a:ext uri="{FF2B5EF4-FFF2-40B4-BE49-F238E27FC236}">
                    <a16:creationId xmlns:a16="http://schemas.microsoft.com/office/drawing/2014/main" id="{108C6938-0FCF-4AB4-BC92-CE4201453D93}"/>
                  </a:ext>
                </a:extLst>
              </p:cNvPr>
              <p:cNvSpPr/>
              <p:nvPr/>
            </p:nvSpPr>
            <p:spPr>
              <a:xfrm>
                <a:off x="8709369" y="1704650"/>
                <a:ext cx="854184" cy="842479"/>
              </a:xfrm>
              <a:custGeom>
                <a:avLst/>
                <a:gdLst>
                  <a:gd name="connsiteX0" fmla="*/ 0 w 854184"/>
                  <a:gd name="connsiteY0" fmla="*/ 0 h 842479"/>
                  <a:gd name="connsiteX1" fmla="*/ 106462 w 854184"/>
                  <a:gd name="connsiteY1" fmla="*/ 480385 h 842479"/>
                  <a:gd name="connsiteX2" fmla="*/ 80438 w 854184"/>
                  <a:gd name="connsiteY2" fmla="*/ 833016 h 842479"/>
                  <a:gd name="connsiteX3" fmla="*/ 778478 w 854184"/>
                  <a:gd name="connsiteY3" fmla="*/ 842480 h 842479"/>
                  <a:gd name="connsiteX4" fmla="*/ 745357 w 854184"/>
                  <a:gd name="connsiteY4" fmla="*/ 475654 h 842479"/>
                  <a:gd name="connsiteX5" fmla="*/ 854184 w 854184"/>
                  <a:gd name="connsiteY5" fmla="*/ 7097 h 84247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854184" h="842479">
                    <a:moveTo>
                      <a:pt x="0" y="0"/>
                    </a:moveTo>
                    <a:lnTo>
                      <a:pt x="106462" y="480385"/>
                    </a:lnTo>
                    <a:lnTo>
                      <a:pt x="80438" y="833016"/>
                    </a:lnTo>
                    <a:lnTo>
                      <a:pt x="778478" y="842480"/>
                    </a:lnTo>
                    <a:lnTo>
                      <a:pt x="745357" y="475654"/>
                    </a:lnTo>
                    <a:lnTo>
                      <a:pt x="854184" y="7097"/>
                    </a:lnTo>
                  </a:path>
                </a:pathLst>
              </a:custGeom>
              <a:solidFill>
                <a:srgbClr val="CA4943"/>
              </a:solidFill>
              <a:ln w="1243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0" name="Полилиния: фигура 59">
                <a:extLst>
                  <a:ext uri="{FF2B5EF4-FFF2-40B4-BE49-F238E27FC236}">
                    <a16:creationId xmlns:a16="http://schemas.microsoft.com/office/drawing/2014/main" id="{1FEB77C0-E3E2-4F19-A9F7-2A310BD0F7D5}"/>
                  </a:ext>
                </a:extLst>
              </p:cNvPr>
              <p:cNvSpPr/>
              <p:nvPr/>
            </p:nvSpPr>
            <p:spPr>
              <a:xfrm>
                <a:off x="8833761" y="1352268"/>
                <a:ext cx="625945" cy="539530"/>
              </a:xfrm>
              <a:custGeom>
                <a:avLst/>
                <a:gdLst>
                  <a:gd name="connsiteX0" fmla="*/ 318016 w 625945"/>
                  <a:gd name="connsiteY0" fmla="*/ 539406 h 539530"/>
                  <a:gd name="connsiteX1" fmla="*/ 625945 w 625945"/>
                  <a:gd name="connsiteY1" fmla="*/ 104096 h 539530"/>
                  <a:gd name="connsiteX2" fmla="*/ 436306 w 625945"/>
                  <a:gd name="connsiteY2" fmla="*/ 30756 h 539530"/>
                  <a:gd name="connsiteX3" fmla="*/ 303447 w 625945"/>
                  <a:gd name="connsiteY3" fmla="*/ 0 h 539530"/>
                  <a:gd name="connsiteX4" fmla="*/ 170588 w 625945"/>
                  <a:gd name="connsiteY4" fmla="*/ 30756 h 539530"/>
                  <a:gd name="connsiteX5" fmla="*/ 0 w 625945"/>
                  <a:gd name="connsiteY5" fmla="*/ 96251 h 539530"/>
                  <a:gd name="connsiteX6" fmla="*/ 318140 w 625945"/>
                  <a:gd name="connsiteY6" fmla="*/ 539531 h 5395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625945" h="539530">
                    <a:moveTo>
                      <a:pt x="318016" y="539406"/>
                    </a:moveTo>
                    <a:lnTo>
                      <a:pt x="625945" y="104096"/>
                    </a:lnTo>
                    <a:cubicBezTo>
                      <a:pt x="532931" y="65371"/>
                      <a:pt x="436306" y="30756"/>
                      <a:pt x="436306" y="30756"/>
                    </a:cubicBezTo>
                    <a:lnTo>
                      <a:pt x="303447" y="0"/>
                    </a:lnTo>
                    <a:lnTo>
                      <a:pt x="170588" y="30756"/>
                    </a:lnTo>
                    <a:cubicBezTo>
                      <a:pt x="170588" y="30756"/>
                      <a:pt x="86664" y="60889"/>
                      <a:pt x="0" y="96251"/>
                    </a:cubicBezTo>
                    <a:lnTo>
                      <a:pt x="318140" y="539531"/>
                    </a:lnTo>
                    <a:close/>
                  </a:path>
                </a:pathLst>
              </a:custGeom>
              <a:solidFill>
                <a:srgbClr val="263238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1" name="Полилиния: фигура 60">
                <a:extLst>
                  <a:ext uri="{FF2B5EF4-FFF2-40B4-BE49-F238E27FC236}">
                    <a16:creationId xmlns:a16="http://schemas.microsoft.com/office/drawing/2014/main" id="{EDC58397-CC42-4624-B74D-A8E52EAA75EB}"/>
                  </a:ext>
                </a:extLst>
              </p:cNvPr>
              <p:cNvSpPr/>
              <p:nvPr/>
            </p:nvSpPr>
            <p:spPr>
              <a:xfrm>
                <a:off x="8996628" y="1246553"/>
                <a:ext cx="299462" cy="302944"/>
              </a:xfrm>
              <a:custGeom>
                <a:avLst/>
                <a:gdLst>
                  <a:gd name="connsiteX0" fmla="*/ 0 w 299462"/>
                  <a:gd name="connsiteY0" fmla="*/ 0 h 302944"/>
                  <a:gd name="connsiteX1" fmla="*/ 0 w 299462"/>
                  <a:gd name="connsiteY1" fmla="*/ 184783 h 302944"/>
                  <a:gd name="connsiteX2" fmla="*/ 155770 w 299462"/>
                  <a:gd name="connsiteY2" fmla="*/ 302824 h 302944"/>
                  <a:gd name="connsiteX3" fmla="*/ 299463 w 299462"/>
                  <a:gd name="connsiteY3" fmla="*/ 159132 h 302944"/>
                  <a:gd name="connsiteX4" fmla="*/ 299463 w 299462"/>
                  <a:gd name="connsiteY4" fmla="*/ 5105 h 302944"/>
                  <a:gd name="connsiteX5" fmla="*/ 0 w 299462"/>
                  <a:gd name="connsiteY5" fmla="*/ 0 h 30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9462" h="302944">
                    <a:moveTo>
                      <a:pt x="0" y="0"/>
                    </a:moveTo>
                    <a:lnTo>
                      <a:pt x="0" y="184783"/>
                    </a:lnTo>
                    <a:cubicBezTo>
                      <a:pt x="0" y="184783"/>
                      <a:pt x="41838" y="307307"/>
                      <a:pt x="155770" y="302824"/>
                    </a:cubicBezTo>
                    <a:cubicBezTo>
                      <a:pt x="285766" y="297719"/>
                      <a:pt x="299463" y="159132"/>
                      <a:pt x="299463" y="159132"/>
                    </a:cubicBezTo>
                    <a:lnTo>
                      <a:pt x="299463" y="5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263238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2" name="Полилиния: фигура 61">
                <a:extLst>
                  <a:ext uri="{FF2B5EF4-FFF2-40B4-BE49-F238E27FC236}">
                    <a16:creationId xmlns:a16="http://schemas.microsoft.com/office/drawing/2014/main" id="{2646B401-E2A6-46B3-8152-9B859D1D7833}"/>
                  </a:ext>
                </a:extLst>
              </p:cNvPr>
              <p:cNvSpPr/>
              <p:nvPr/>
            </p:nvSpPr>
            <p:spPr>
              <a:xfrm>
                <a:off x="8996628" y="1167236"/>
                <a:ext cx="299462" cy="302944"/>
              </a:xfrm>
              <a:custGeom>
                <a:avLst/>
                <a:gdLst>
                  <a:gd name="connsiteX0" fmla="*/ 0 w 299462"/>
                  <a:gd name="connsiteY0" fmla="*/ 0 h 302944"/>
                  <a:gd name="connsiteX1" fmla="*/ 0 w 299462"/>
                  <a:gd name="connsiteY1" fmla="*/ 184783 h 302944"/>
                  <a:gd name="connsiteX2" fmla="*/ 155770 w 299462"/>
                  <a:gd name="connsiteY2" fmla="*/ 302824 h 302944"/>
                  <a:gd name="connsiteX3" fmla="*/ 299463 w 299462"/>
                  <a:gd name="connsiteY3" fmla="*/ 159132 h 302944"/>
                  <a:gd name="connsiteX4" fmla="*/ 299463 w 299462"/>
                  <a:gd name="connsiteY4" fmla="*/ 5105 h 302944"/>
                  <a:gd name="connsiteX5" fmla="*/ 0 w 299462"/>
                  <a:gd name="connsiteY5" fmla="*/ 0 h 30294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99462" h="302944">
                    <a:moveTo>
                      <a:pt x="0" y="0"/>
                    </a:moveTo>
                    <a:lnTo>
                      <a:pt x="0" y="184783"/>
                    </a:lnTo>
                    <a:cubicBezTo>
                      <a:pt x="0" y="184783"/>
                      <a:pt x="41838" y="307307"/>
                      <a:pt x="155770" y="302824"/>
                    </a:cubicBezTo>
                    <a:cubicBezTo>
                      <a:pt x="285766" y="297719"/>
                      <a:pt x="299463" y="159132"/>
                      <a:pt x="299463" y="159132"/>
                    </a:cubicBezTo>
                    <a:lnTo>
                      <a:pt x="299463" y="5105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63" name="Рисунок 2">
                <a:extLst>
                  <a:ext uri="{FF2B5EF4-FFF2-40B4-BE49-F238E27FC236}">
                    <a16:creationId xmlns:a16="http://schemas.microsoft.com/office/drawing/2014/main" id="{751909F1-12B0-4B9F-8D38-FC50511E68A6}"/>
                  </a:ext>
                </a:extLst>
              </p:cNvPr>
              <p:cNvGrpSpPr/>
              <p:nvPr/>
            </p:nvGrpSpPr>
            <p:grpSpPr>
              <a:xfrm>
                <a:off x="8917093" y="775254"/>
                <a:ext cx="451810" cy="632366"/>
                <a:chOff x="8917093" y="775254"/>
                <a:chExt cx="451810" cy="632366"/>
              </a:xfrm>
            </p:grpSpPr>
            <p:sp>
              <p:nvSpPr>
                <p:cNvPr id="102" name="Полилиния: фигура 101">
                  <a:extLst>
                    <a:ext uri="{FF2B5EF4-FFF2-40B4-BE49-F238E27FC236}">
                      <a16:creationId xmlns:a16="http://schemas.microsoft.com/office/drawing/2014/main" id="{84EF13F2-7570-4BD9-87FE-2C4FD1A4EC2A}"/>
                    </a:ext>
                  </a:extLst>
                </p:cNvPr>
                <p:cNvSpPr/>
                <p:nvPr/>
              </p:nvSpPr>
              <p:spPr>
                <a:xfrm>
                  <a:off x="8917093" y="1073545"/>
                  <a:ext cx="43550" cy="121707"/>
                </a:xfrm>
                <a:custGeom>
                  <a:avLst/>
                  <a:gdLst>
                    <a:gd name="connsiteX0" fmla="*/ 35083 w 43550"/>
                    <a:gd name="connsiteY0" fmla="*/ 3665 h 121707"/>
                    <a:gd name="connsiteX1" fmla="*/ 4328 w 43550"/>
                    <a:gd name="connsiteY1" fmla="*/ 20724 h 121707"/>
                    <a:gd name="connsiteX2" fmla="*/ 23130 w 43550"/>
                    <a:gd name="connsiteY2" fmla="*/ 94313 h 121707"/>
                    <a:gd name="connsiteX3" fmla="*/ 33340 w 43550"/>
                    <a:gd name="connsiteY3" fmla="*/ 102905 h 121707"/>
                    <a:gd name="connsiteX4" fmla="*/ 43550 w 43550"/>
                    <a:gd name="connsiteY4" fmla="*/ 121707 h 121707"/>
                    <a:gd name="connsiteX5" fmla="*/ 34959 w 43550"/>
                    <a:gd name="connsiteY5" fmla="*/ 3665 h 121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550" h="121707">
                      <a:moveTo>
                        <a:pt x="35083" y="3665"/>
                      </a:moveTo>
                      <a:cubicBezTo>
                        <a:pt x="35083" y="3665"/>
                        <a:pt x="18024" y="-11775"/>
                        <a:pt x="4328" y="20724"/>
                      </a:cubicBezTo>
                      <a:cubicBezTo>
                        <a:pt x="-9369" y="53223"/>
                        <a:pt x="12919" y="85722"/>
                        <a:pt x="23130" y="94313"/>
                      </a:cubicBezTo>
                      <a:lnTo>
                        <a:pt x="33340" y="102905"/>
                      </a:lnTo>
                      <a:lnTo>
                        <a:pt x="43550" y="121707"/>
                      </a:lnTo>
                      <a:lnTo>
                        <a:pt x="34959" y="3665"/>
                      </a:lnTo>
                      <a:close/>
                    </a:path>
                  </a:pathLst>
                </a:custGeom>
                <a:noFill/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3" name="Полилиния: фигура 102">
                  <a:extLst>
                    <a:ext uri="{FF2B5EF4-FFF2-40B4-BE49-F238E27FC236}">
                      <a16:creationId xmlns:a16="http://schemas.microsoft.com/office/drawing/2014/main" id="{7A55C3C4-14C5-473F-ADDD-874D2525D16F}"/>
                    </a:ext>
                  </a:extLst>
                </p:cNvPr>
                <p:cNvSpPr/>
                <p:nvPr/>
              </p:nvSpPr>
              <p:spPr>
                <a:xfrm>
                  <a:off x="9325352" y="1073545"/>
                  <a:ext cx="43550" cy="121707"/>
                </a:xfrm>
                <a:custGeom>
                  <a:avLst/>
                  <a:gdLst>
                    <a:gd name="connsiteX0" fmla="*/ 8467 w 43550"/>
                    <a:gd name="connsiteY0" fmla="*/ 3665 h 121707"/>
                    <a:gd name="connsiteX1" fmla="*/ 39223 w 43550"/>
                    <a:gd name="connsiteY1" fmla="*/ 20724 h 121707"/>
                    <a:gd name="connsiteX2" fmla="*/ 20421 w 43550"/>
                    <a:gd name="connsiteY2" fmla="*/ 94313 h 121707"/>
                    <a:gd name="connsiteX3" fmla="*/ 10210 w 43550"/>
                    <a:gd name="connsiteY3" fmla="*/ 102905 h 121707"/>
                    <a:gd name="connsiteX4" fmla="*/ 0 w 43550"/>
                    <a:gd name="connsiteY4" fmla="*/ 121707 h 121707"/>
                    <a:gd name="connsiteX5" fmla="*/ 8592 w 43550"/>
                    <a:gd name="connsiteY5" fmla="*/ 3665 h 1217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</a:cxnLst>
                  <a:rect l="l" t="t" r="r" b="b"/>
                  <a:pathLst>
                    <a:path w="43550" h="121707">
                      <a:moveTo>
                        <a:pt x="8467" y="3665"/>
                      </a:moveTo>
                      <a:cubicBezTo>
                        <a:pt x="8467" y="3665"/>
                        <a:pt x="25526" y="-11775"/>
                        <a:pt x="39223" y="20724"/>
                      </a:cubicBezTo>
                      <a:cubicBezTo>
                        <a:pt x="52920" y="53223"/>
                        <a:pt x="30631" y="85722"/>
                        <a:pt x="20421" y="94313"/>
                      </a:cubicBezTo>
                      <a:lnTo>
                        <a:pt x="10210" y="102905"/>
                      </a:lnTo>
                      <a:lnTo>
                        <a:pt x="0" y="121707"/>
                      </a:lnTo>
                      <a:lnTo>
                        <a:pt x="8592" y="3665"/>
                      </a:lnTo>
                      <a:close/>
                    </a:path>
                  </a:pathLst>
                </a:custGeom>
                <a:noFill/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4" name="Полилиния: фигура 103">
                  <a:extLst>
                    <a:ext uri="{FF2B5EF4-FFF2-40B4-BE49-F238E27FC236}">
                      <a16:creationId xmlns:a16="http://schemas.microsoft.com/office/drawing/2014/main" id="{BE3CB1B1-2796-4550-AEE9-C3E2ED9F5B91}"/>
                    </a:ext>
                  </a:extLst>
                </p:cNvPr>
                <p:cNvSpPr/>
                <p:nvPr/>
              </p:nvSpPr>
              <p:spPr>
                <a:xfrm>
                  <a:off x="8950423" y="775378"/>
                  <a:ext cx="383505" cy="632241"/>
                </a:xfrm>
                <a:custGeom>
                  <a:avLst/>
                  <a:gdLst>
                    <a:gd name="connsiteX0" fmla="*/ 118052 w 383505"/>
                    <a:gd name="connsiteY0" fmla="*/ 14323 h 632241"/>
                    <a:gd name="connsiteX1" fmla="*/ 11964 w 383505"/>
                    <a:gd name="connsiteY1" fmla="*/ 98123 h 632241"/>
                    <a:gd name="connsiteX2" fmla="*/ 10221 w 383505"/>
                    <a:gd name="connsiteY2" fmla="*/ 419874 h 632241"/>
                    <a:gd name="connsiteX3" fmla="*/ 121414 w 383505"/>
                    <a:gd name="connsiteY3" fmla="*/ 596190 h 632241"/>
                    <a:gd name="connsiteX4" fmla="*/ 215549 w 383505"/>
                    <a:gd name="connsiteY4" fmla="*/ 628688 h 632241"/>
                    <a:gd name="connsiteX5" fmla="*/ 378167 w 383505"/>
                    <a:gd name="connsiteY5" fmla="*/ 414769 h 632241"/>
                    <a:gd name="connsiteX6" fmla="*/ 366214 w 383505"/>
                    <a:gd name="connsiteY6" fmla="*/ 82807 h 632241"/>
                    <a:gd name="connsiteX7" fmla="*/ 118052 w 383505"/>
                    <a:gd name="connsiteY7" fmla="*/ 14323 h 63224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</a:cxnLst>
                  <a:rect l="l" t="t" r="r" b="b"/>
                  <a:pathLst>
                    <a:path w="383505" h="632241">
                      <a:moveTo>
                        <a:pt x="118052" y="14323"/>
                      </a:moveTo>
                      <a:cubicBezTo>
                        <a:pt x="118052" y="14323"/>
                        <a:pt x="34252" y="38230"/>
                        <a:pt x="11964" y="98123"/>
                      </a:cubicBezTo>
                      <a:cubicBezTo>
                        <a:pt x="-10325" y="158015"/>
                        <a:pt x="4244" y="400698"/>
                        <a:pt x="10221" y="419874"/>
                      </a:cubicBezTo>
                      <a:cubicBezTo>
                        <a:pt x="29022" y="479766"/>
                        <a:pt x="102612" y="579006"/>
                        <a:pt x="121414" y="596190"/>
                      </a:cubicBezTo>
                      <a:cubicBezTo>
                        <a:pt x="140216" y="613248"/>
                        <a:pt x="171096" y="642385"/>
                        <a:pt x="215549" y="628688"/>
                      </a:cubicBezTo>
                      <a:cubicBezTo>
                        <a:pt x="260001" y="614992"/>
                        <a:pt x="366089" y="495207"/>
                        <a:pt x="378167" y="414769"/>
                      </a:cubicBezTo>
                      <a:cubicBezTo>
                        <a:pt x="390245" y="334331"/>
                        <a:pt x="379910" y="120411"/>
                        <a:pt x="366214" y="82807"/>
                      </a:cubicBezTo>
                      <a:cubicBezTo>
                        <a:pt x="352517" y="45203"/>
                        <a:pt x="219035" y="-31872"/>
                        <a:pt x="118052" y="14323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5" name="Полилиния: фигура 104">
                  <a:extLst>
                    <a:ext uri="{FF2B5EF4-FFF2-40B4-BE49-F238E27FC236}">
                      <a16:creationId xmlns:a16="http://schemas.microsoft.com/office/drawing/2014/main" id="{7ED3277D-4F37-4DD7-AAF8-8BAE0CBD1677}"/>
                    </a:ext>
                  </a:extLst>
                </p:cNvPr>
                <p:cNvSpPr/>
                <p:nvPr/>
              </p:nvSpPr>
              <p:spPr>
                <a:xfrm>
                  <a:off x="9107822" y="1130255"/>
                  <a:ext cx="59892" cy="85542"/>
                </a:xfrm>
                <a:custGeom>
                  <a:avLst/>
                  <a:gdLst>
                    <a:gd name="connsiteX0" fmla="*/ 0 w 59892"/>
                    <a:gd name="connsiteY0" fmla="*/ 56406 h 85542"/>
                    <a:gd name="connsiteX1" fmla="*/ 46196 w 59892"/>
                    <a:gd name="connsiteY1" fmla="*/ 85543 h 85542"/>
                    <a:gd name="connsiteX2" fmla="*/ 59892 w 59892"/>
                    <a:gd name="connsiteY2" fmla="*/ 66741 h 85542"/>
                    <a:gd name="connsiteX3" fmla="*/ 59892 w 59892"/>
                    <a:gd name="connsiteY3" fmla="*/ 0 h 8554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59892" h="85542">
                      <a:moveTo>
                        <a:pt x="0" y="56406"/>
                      </a:moveTo>
                      <a:cubicBezTo>
                        <a:pt x="0" y="56406"/>
                        <a:pt x="39347" y="85543"/>
                        <a:pt x="46196" y="85543"/>
                      </a:cubicBezTo>
                      <a:cubicBezTo>
                        <a:pt x="53044" y="85543"/>
                        <a:pt x="59892" y="66741"/>
                        <a:pt x="59892" y="66741"/>
                      </a:cubicBezTo>
                      <a:lnTo>
                        <a:pt x="59892" y="0"/>
                      </a:lnTo>
                    </a:path>
                  </a:pathLst>
                </a:custGeom>
                <a:noFill/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6" name="Полилиния: фигура 105">
                  <a:extLst>
                    <a:ext uri="{FF2B5EF4-FFF2-40B4-BE49-F238E27FC236}">
                      <a16:creationId xmlns:a16="http://schemas.microsoft.com/office/drawing/2014/main" id="{5A833060-A5FF-4DD1-82C5-281ACE4DAF21}"/>
                    </a:ext>
                  </a:extLst>
                </p:cNvPr>
                <p:cNvSpPr/>
                <p:nvPr/>
              </p:nvSpPr>
              <p:spPr>
                <a:xfrm>
                  <a:off x="9154142" y="1190147"/>
                  <a:ext cx="32498" cy="25672"/>
                </a:xfrm>
                <a:custGeom>
                  <a:avLst/>
                  <a:gdLst>
                    <a:gd name="connsiteX0" fmla="*/ 0 w 32498"/>
                    <a:gd name="connsiteY0" fmla="*/ 25650 h 25672"/>
                    <a:gd name="connsiteX1" fmla="*/ 32499 w 32498"/>
                    <a:gd name="connsiteY1" fmla="*/ 0 h 2567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32498" h="25672">
                      <a:moveTo>
                        <a:pt x="0" y="25650"/>
                      </a:moveTo>
                      <a:cubicBezTo>
                        <a:pt x="0" y="25650"/>
                        <a:pt x="23907" y="27394"/>
                        <a:pt x="32499" y="0"/>
                      </a:cubicBezTo>
                    </a:path>
                  </a:pathLst>
                </a:custGeom>
                <a:noFill/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7" name="Полилиния: фигура 106">
                  <a:extLst>
                    <a:ext uri="{FF2B5EF4-FFF2-40B4-BE49-F238E27FC236}">
                      <a16:creationId xmlns:a16="http://schemas.microsoft.com/office/drawing/2014/main" id="{2B1CA1B4-8DD7-4542-B853-24B3C1BB762B}"/>
                    </a:ext>
                  </a:extLst>
                </p:cNvPr>
                <p:cNvSpPr/>
                <p:nvPr/>
              </p:nvSpPr>
              <p:spPr>
                <a:xfrm>
                  <a:off x="9094249" y="1241448"/>
                  <a:ext cx="111193" cy="15218"/>
                </a:xfrm>
                <a:custGeom>
                  <a:avLst/>
                  <a:gdLst>
                    <a:gd name="connsiteX0" fmla="*/ 0 w 111193"/>
                    <a:gd name="connsiteY0" fmla="*/ 0 h 15218"/>
                    <a:gd name="connsiteX1" fmla="*/ 111193 w 111193"/>
                    <a:gd name="connsiteY1" fmla="*/ 0 h 152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</a:cxnLst>
                  <a:rect l="l" t="t" r="r" b="b"/>
                  <a:pathLst>
                    <a:path w="111193" h="15218">
                      <a:moveTo>
                        <a:pt x="0" y="0"/>
                      </a:moveTo>
                      <a:cubicBezTo>
                        <a:pt x="0" y="0"/>
                        <a:pt x="56531" y="34242"/>
                        <a:pt x="111193" y="0"/>
                      </a:cubicBezTo>
                    </a:path>
                  </a:pathLst>
                </a:custGeom>
                <a:noFill/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8" name="Полилиния: фигура 107">
                  <a:extLst>
                    <a:ext uri="{FF2B5EF4-FFF2-40B4-BE49-F238E27FC236}">
                      <a16:creationId xmlns:a16="http://schemas.microsoft.com/office/drawing/2014/main" id="{1DC53D42-FD3E-450D-9604-CAB9CF3779E7}"/>
                    </a:ext>
                  </a:extLst>
                </p:cNvPr>
                <p:cNvSpPr/>
                <p:nvPr/>
              </p:nvSpPr>
              <p:spPr>
                <a:xfrm>
                  <a:off x="8950473" y="775254"/>
                  <a:ext cx="382474" cy="260368"/>
                </a:xfrm>
                <a:custGeom>
                  <a:avLst/>
                  <a:gdLst>
                    <a:gd name="connsiteX0" fmla="*/ 382474 w 382474"/>
                    <a:gd name="connsiteY0" fmla="*/ 251278 h 260368"/>
                    <a:gd name="connsiteX1" fmla="*/ 366163 w 382474"/>
                    <a:gd name="connsiteY1" fmla="*/ 82807 h 260368"/>
                    <a:gd name="connsiteX2" fmla="*/ 118001 w 382474"/>
                    <a:gd name="connsiteY2" fmla="*/ 14323 h 260368"/>
                    <a:gd name="connsiteX3" fmla="*/ 11913 w 382474"/>
                    <a:gd name="connsiteY3" fmla="*/ 98123 h 260368"/>
                    <a:gd name="connsiteX4" fmla="*/ 208 w 382474"/>
                    <a:gd name="connsiteY4" fmla="*/ 260368 h 260368"/>
                    <a:gd name="connsiteX5" fmla="*/ 49891 w 382474"/>
                    <a:gd name="connsiteY5" fmla="*/ 185409 h 260368"/>
                    <a:gd name="connsiteX6" fmla="*/ 31960 w 382474"/>
                    <a:gd name="connsiteY6" fmla="*/ 101609 h 260368"/>
                    <a:gd name="connsiteX7" fmla="*/ 97954 w 382474"/>
                    <a:gd name="connsiteY7" fmla="*/ 50309 h 260368"/>
                    <a:gd name="connsiteX8" fmla="*/ 195201 w 382474"/>
                    <a:gd name="connsiteY8" fmla="*/ 99991 h 260368"/>
                    <a:gd name="connsiteX9" fmla="*/ 294068 w 382474"/>
                    <a:gd name="connsiteY9" fmla="*/ 50309 h 260368"/>
                    <a:gd name="connsiteX10" fmla="*/ 359937 w 382474"/>
                    <a:gd name="connsiteY10" fmla="*/ 101609 h 260368"/>
                    <a:gd name="connsiteX11" fmla="*/ 342006 w 382474"/>
                    <a:gd name="connsiteY11" fmla="*/ 185409 h 260368"/>
                    <a:gd name="connsiteX12" fmla="*/ 382474 w 382474"/>
                    <a:gd name="connsiteY12" fmla="*/ 251154 h 26036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382474" h="260368">
                      <a:moveTo>
                        <a:pt x="382474" y="251278"/>
                      </a:moveTo>
                      <a:cubicBezTo>
                        <a:pt x="380109" y="176195"/>
                        <a:pt x="373634" y="103353"/>
                        <a:pt x="366163" y="82807"/>
                      </a:cubicBezTo>
                      <a:cubicBezTo>
                        <a:pt x="352466" y="45203"/>
                        <a:pt x="218984" y="-31872"/>
                        <a:pt x="118001" y="14323"/>
                      </a:cubicBezTo>
                      <a:cubicBezTo>
                        <a:pt x="118001" y="14323"/>
                        <a:pt x="34201" y="38230"/>
                        <a:pt x="11913" y="98123"/>
                      </a:cubicBezTo>
                      <a:cubicBezTo>
                        <a:pt x="1578" y="126139"/>
                        <a:pt x="-788" y="194001"/>
                        <a:pt x="208" y="260368"/>
                      </a:cubicBezTo>
                      <a:cubicBezTo>
                        <a:pt x="15150" y="245924"/>
                        <a:pt x="53501" y="206203"/>
                        <a:pt x="49891" y="185409"/>
                      </a:cubicBezTo>
                      <a:cubicBezTo>
                        <a:pt x="45408" y="159759"/>
                        <a:pt x="25859" y="120411"/>
                        <a:pt x="31960" y="101609"/>
                      </a:cubicBezTo>
                      <a:cubicBezTo>
                        <a:pt x="37937" y="82807"/>
                        <a:pt x="70934" y="50309"/>
                        <a:pt x="97954" y="50309"/>
                      </a:cubicBezTo>
                      <a:cubicBezTo>
                        <a:pt x="124974" y="50309"/>
                        <a:pt x="166687" y="101609"/>
                        <a:pt x="195201" y="99991"/>
                      </a:cubicBezTo>
                      <a:cubicBezTo>
                        <a:pt x="223716" y="101734"/>
                        <a:pt x="267172" y="50309"/>
                        <a:pt x="294068" y="50309"/>
                      </a:cubicBezTo>
                      <a:cubicBezTo>
                        <a:pt x="320963" y="50309"/>
                        <a:pt x="353960" y="82807"/>
                        <a:pt x="359937" y="101609"/>
                      </a:cubicBezTo>
                      <a:cubicBezTo>
                        <a:pt x="365914" y="120411"/>
                        <a:pt x="346489" y="159759"/>
                        <a:pt x="342006" y="185409"/>
                      </a:cubicBezTo>
                      <a:cubicBezTo>
                        <a:pt x="339018" y="202717"/>
                        <a:pt x="365042" y="233099"/>
                        <a:pt x="382474" y="251154"/>
                      </a:cubicBez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grpSp>
              <p:nvGrpSpPr>
                <p:cNvPr id="109" name="Рисунок 2">
                  <a:extLst>
                    <a:ext uri="{FF2B5EF4-FFF2-40B4-BE49-F238E27FC236}">
                      <a16:creationId xmlns:a16="http://schemas.microsoft.com/office/drawing/2014/main" id="{DC36E6CC-CC7C-4BEC-9FAF-7B0B22F7B916}"/>
                    </a:ext>
                  </a:extLst>
                </p:cNvPr>
                <p:cNvGrpSpPr/>
                <p:nvPr/>
              </p:nvGrpSpPr>
              <p:grpSpPr>
                <a:xfrm>
                  <a:off x="8941094" y="1029272"/>
                  <a:ext cx="402188" cy="90648"/>
                  <a:chOff x="8941094" y="1029272"/>
                  <a:chExt cx="402188" cy="90648"/>
                </a:xfrm>
              </p:grpSpPr>
              <p:sp>
                <p:nvSpPr>
                  <p:cNvPr id="110" name="Полилиния: фигура 109">
                    <a:extLst>
                      <a:ext uri="{FF2B5EF4-FFF2-40B4-BE49-F238E27FC236}">
                        <a16:creationId xmlns:a16="http://schemas.microsoft.com/office/drawing/2014/main" id="{C10F58B0-B5CA-442F-8192-434933A864B5}"/>
                      </a:ext>
                    </a:extLst>
                  </p:cNvPr>
                  <p:cNvSpPr/>
                  <p:nvPr/>
                </p:nvSpPr>
                <p:spPr>
                  <a:xfrm>
                    <a:off x="8941094" y="1029272"/>
                    <a:ext cx="402188" cy="90648"/>
                  </a:xfrm>
                  <a:custGeom>
                    <a:avLst/>
                    <a:gdLst>
                      <a:gd name="connsiteX0" fmla="*/ 356865 w 402188"/>
                      <a:gd name="connsiteY0" fmla="*/ 0 h 90648"/>
                      <a:gd name="connsiteX1" fmla="*/ 402189 w 402188"/>
                      <a:gd name="connsiteY1" fmla="*/ 45324 h 90648"/>
                      <a:gd name="connsiteX2" fmla="*/ 402189 w 402188"/>
                      <a:gd name="connsiteY2" fmla="*/ 45324 h 90648"/>
                      <a:gd name="connsiteX3" fmla="*/ 356865 w 402188"/>
                      <a:gd name="connsiteY3" fmla="*/ 90648 h 90648"/>
                      <a:gd name="connsiteX4" fmla="*/ 45324 w 402188"/>
                      <a:gd name="connsiteY4" fmla="*/ 90648 h 90648"/>
                      <a:gd name="connsiteX5" fmla="*/ 0 w 402188"/>
                      <a:gd name="connsiteY5" fmla="*/ 45324 h 90648"/>
                      <a:gd name="connsiteX6" fmla="*/ 0 w 402188"/>
                      <a:gd name="connsiteY6" fmla="*/ 45324 h 90648"/>
                      <a:gd name="connsiteX7" fmla="*/ 45324 w 402188"/>
                      <a:gd name="connsiteY7" fmla="*/ 0 h 90648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</a:cxnLst>
                    <a:rect l="l" t="t" r="r" b="b"/>
                    <a:pathLst>
                      <a:path w="402188" h="90648">
                        <a:moveTo>
                          <a:pt x="356865" y="0"/>
                        </a:moveTo>
                        <a:cubicBezTo>
                          <a:pt x="381896" y="0"/>
                          <a:pt x="402189" y="20292"/>
                          <a:pt x="402189" y="45324"/>
                        </a:cubicBezTo>
                        <a:lnTo>
                          <a:pt x="402189" y="45324"/>
                        </a:lnTo>
                        <a:cubicBezTo>
                          <a:pt x="402189" y="70356"/>
                          <a:pt x="381896" y="90648"/>
                          <a:pt x="356865" y="90648"/>
                        </a:cubicBezTo>
                        <a:lnTo>
                          <a:pt x="45324" y="90648"/>
                        </a:lnTo>
                        <a:cubicBezTo>
                          <a:pt x="20292" y="90648"/>
                          <a:pt x="0" y="70356"/>
                          <a:pt x="0" y="45324"/>
                        </a:cubicBezTo>
                        <a:lnTo>
                          <a:pt x="0" y="45324"/>
                        </a:lnTo>
                        <a:cubicBezTo>
                          <a:pt x="0" y="20292"/>
                          <a:pt x="20292" y="0"/>
                          <a:pt x="45324" y="0"/>
                        </a:cubicBezTo>
                        <a:close/>
                      </a:path>
                    </a:pathLst>
                  </a:custGeom>
                  <a:solidFill>
                    <a:srgbClr val="FFFFFF"/>
                  </a:solidFill>
                  <a:ln w="12430" cap="rnd">
                    <a:solidFill>
                      <a:srgbClr val="263238"/>
                    </a:solidFill>
                    <a:prstDash val="solid"/>
                    <a:round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11" name="Полилиния: фигура 110">
                    <a:extLst>
                      <a:ext uri="{FF2B5EF4-FFF2-40B4-BE49-F238E27FC236}">
                        <a16:creationId xmlns:a16="http://schemas.microsoft.com/office/drawing/2014/main" id="{669E4542-40BF-464C-87DB-3E07D0E0A7A0}"/>
                      </a:ext>
                    </a:extLst>
                  </p:cNvPr>
                  <p:cNvSpPr/>
                  <p:nvPr/>
                </p:nvSpPr>
                <p:spPr>
                  <a:xfrm>
                    <a:off x="8992644" y="1053179"/>
                    <a:ext cx="299088" cy="42833"/>
                  </a:xfrm>
                  <a:custGeom>
                    <a:avLst/>
                    <a:gdLst>
                      <a:gd name="connsiteX0" fmla="*/ 21417 w 299088"/>
                      <a:gd name="connsiteY0" fmla="*/ 0 h 42833"/>
                      <a:gd name="connsiteX1" fmla="*/ 277672 w 299088"/>
                      <a:gd name="connsiteY1" fmla="*/ 0 h 42833"/>
                      <a:gd name="connsiteX2" fmla="*/ 299089 w 299088"/>
                      <a:gd name="connsiteY2" fmla="*/ 21417 h 42833"/>
                      <a:gd name="connsiteX3" fmla="*/ 299089 w 299088"/>
                      <a:gd name="connsiteY3" fmla="*/ 21417 h 42833"/>
                      <a:gd name="connsiteX4" fmla="*/ 277672 w 299088"/>
                      <a:gd name="connsiteY4" fmla="*/ 42834 h 42833"/>
                      <a:gd name="connsiteX5" fmla="*/ 21417 w 299088"/>
                      <a:gd name="connsiteY5" fmla="*/ 42834 h 42833"/>
                      <a:gd name="connsiteX6" fmla="*/ 0 w 299088"/>
                      <a:gd name="connsiteY6" fmla="*/ 21417 h 42833"/>
                      <a:gd name="connsiteX7" fmla="*/ 0 w 299088"/>
                      <a:gd name="connsiteY7" fmla="*/ 21417 h 42833"/>
                      <a:gd name="connsiteX8" fmla="*/ 21417 w 299088"/>
                      <a:gd name="connsiteY8" fmla="*/ 0 h 42833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299088" h="42833">
                        <a:moveTo>
                          <a:pt x="21417" y="0"/>
                        </a:moveTo>
                        <a:lnTo>
                          <a:pt x="277672" y="0"/>
                        </a:lnTo>
                        <a:cubicBezTo>
                          <a:pt x="289501" y="0"/>
                          <a:pt x="299089" y="9588"/>
                          <a:pt x="299089" y="21417"/>
                        </a:cubicBezTo>
                        <a:lnTo>
                          <a:pt x="299089" y="21417"/>
                        </a:lnTo>
                        <a:cubicBezTo>
                          <a:pt x="299089" y="33246"/>
                          <a:pt x="289501" y="42834"/>
                          <a:pt x="277672" y="42834"/>
                        </a:cubicBezTo>
                        <a:lnTo>
                          <a:pt x="21417" y="42834"/>
                        </a:lnTo>
                        <a:cubicBezTo>
                          <a:pt x="9588" y="42834"/>
                          <a:pt x="0" y="33246"/>
                          <a:pt x="0" y="21417"/>
                        </a:cubicBezTo>
                        <a:lnTo>
                          <a:pt x="0" y="21417"/>
                        </a:lnTo>
                        <a:cubicBezTo>
                          <a:pt x="0" y="9588"/>
                          <a:pt x="9588" y="0"/>
                          <a:pt x="21417" y="0"/>
                        </a:cubicBezTo>
                        <a:close/>
                      </a:path>
                    </a:pathLst>
                  </a:custGeom>
                  <a:solidFill>
                    <a:srgbClr val="CA4943"/>
                  </a:solidFill>
                  <a:ln w="12430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</p:grpSp>
          <p:sp>
            <p:nvSpPr>
              <p:cNvPr id="64" name="Полилиния: фигура 63">
                <a:extLst>
                  <a:ext uri="{FF2B5EF4-FFF2-40B4-BE49-F238E27FC236}">
                    <a16:creationId xmlns:a16="http://schemas.microsoft.com/office/drawing/2014/main" id="{BD3C4752-96D8-45F5-9ABB-114D89C58071}"/>
                  </a:ext>
                </a:extLst>
              </p:cNvPr>
              <p:cNvSpPr/>
              <p:nvPr/>
            </p:nvSpPr>
            <p:spPr>
              <a:xfrm>
                <a:off x="8789806" y="2367203"/>
                <a:ext cx="698040" cy="179926"/>
              </a:xfrm>
              <a:custGeom>
                <a:avLst/>
                <a:gdLst>
                  <a:gd name="connsiteX0" fmla="*/ 0 w 698040"/>
                  <a:gd name="connsiteY0" fmla="*/ 170463 h 179926"/>
                  <a:gd name="connsiteX1" fmla="*/ 698040 w 698040"/>
                  <a:gd name="connsiteY1" fmla="*/ 179927 h 179926"/>
                  <a:gd name="connsiteX2" fmla="*/ 681729 w 698040"/>
                  <a:gd name="connsiteY2" fmla="*/ 0 h 179926"/>
                  <a:gd name="connsiteX3" fmla="*/ 12576 w 698040"/>
                  <a:gd name="connsiteY3" fmla="*/ 0 h 179926"/>
                  <a:gd name="connsiteX4" fmla="*/ 0 w 698040"/>
                  <a:gd name="connsiteY4" fmla="*/ 170463 h 17992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698040" h="179926">
                    <a:moveTo>
                      <a:pt x="0" y="170463"/>
                    </a:moveTo>
                    <a:lnTo>
                      <a:pt x="698040" y="179927"/>
                    </a:lnTo>
                    <a:lnTo>
                      <a:pt x="681729" y="0"/>
                    </a:lnTo>
                    <a:lnTo>
                      <a:pt x="12576" y="0"/>
                    </a:lnTo>
                    <a:lnTo>
                      <a:pt x="0" y="170463"/>
                    </a:lnTo>
                    <a:close/>
                  </a:path>
                </a:pathLst>
              </a:custGeom>
              <a:solidFill>
                <a:srgbClr val="FFFFFF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grpSp>
            <p:nvGrpSpPr>
              <p:cNvPr id="65" name="Рисунок 2">
                <a:extLst>
                  <a:ext uri="{FF2B5EF4-FFF2-40B4-BE49-F238E27FC236}">
                    <a16:creationId xmlns:a16="http://schemas.microsoft.com/office/drawing/2014/main" id="{2D3EB046-24CE-4614-A159-FC432A8053C2}"/>
                  </a:ext>
                </a:extLst>
              </p:cNvPr>
              <p:cNvGrpSpPr/>
              <p:nvPr/>
            </p:nvGrpSpPr>
            <p:grpSpPr>
              <a:xfrm>
                <a:off x="8739814" y="2537542"/>
                <a:ext cx="764892" cy="1997246"/>
                <a:chOff x="8739814" y="2537542"/>
                <a:chExt cx="764892" cy="1997246"/>
              </a:xfrm>
              <a:solidFill>
                <a:srgbClr val="263238"/>
              </a:solidFill>
            </p:grpSpPr>
            <p:sp>
              <p:nvSpPr>
                <p:cNvPr id="68" name="Полилиния: фигура 67">
                  <a:extLst>
                    <a:ext uri="{FF2B5EF4-FFF2-40B4-BE49-F238E27FC236}">
                      <a16:creationId xmlns:a16="http://schemas.microsoft.com/office/drawing/2014/main" id="{DC77BED9-0970-4BD6-8135-47207CEDCBE6}"/>
                    </a:ext>
                  </a:extLst>
                </p:cNvPr>
                <p:cNvSpPr/>
                <p:nvPr/>
              </p:nvSpPr>
              <p:spPr>
                <a:xfrm>
                  <a:off x="8739814" y="2537542"/>
                  <a:ext cx="764892" cy="1041706"/>
                </a:xfrm>
                <a:custGeom>
                  <a:avLst/>
                  <a:gdLst>
                    <a:gd name="connsiteX0" fmla="*/ 604713 w 764892"/>
                    <a:gd name="connsiteY0" fmla="*/ 874480 h 1041706"/>
                    <a:gd name="connsiteX1" fmla="*/ 749028 w 764892"/>
                    <a:gd name="connsiteY1" fmla="*/ 874480 h 1041706"/>
                    <a:gd name="connsiteX2" fmla="*/ 763472 w 764892"/>
                    <a:gd name="connsiteY2" fmla="*/ 505413 h 1041706"/>
                    <a:gd name="connsiteX3" fmla="*/ 748032 w 764892"/>
                    <a:gd name="connsiteY3" fmla="*/ 9463 h 1041706"/>
                    <a:gd name="connsiteX4" fmla="*/ 49992 w 764892"/>
                    <a:gd name="connsiteY4" fmla="*/ 0 h 1041706"/>
                    <a:gd name="connsiteX5" fmla="*/ 3174 w 764892"/>
                    <a:gd name="connsiteY5" fmla="*/ 637152 h 1041706"/>
                    <a:gd name="connsiteX6" fmla="*/ 46505 w 764892"/>
                    <a:gd name="connsiteY6" fmla="*/ 873360 h 1041706"/>
                    <a:gd name="connsiteX7" fmla="*/ 205388 w 764892"/>
                    <a:gd name="connsiteY7" fmla="*/ 873360 h 1041706"/>
                    <a:gd name="connsiteX8" fmla="*/ 205388 w 764892"/>
                    <a:gd name="connsiteY8" fmla="*/ 980319 h 1041706"/>
                    <a:gd name="connsiteX9" fmla="*/ 255942 w 764892"/>
                    <a:gd name="connsiteY9" fmla="*/ 980319 h 1041706"/>
                    <a:gd name="connsiteX10" fmla="*/ 255942 w 764892"/>
                    <a:gd name="connsiteY10" fmla="*/ 1020040 h 1041706"/>
                    <a:gd name="connsiteX11" fmla="*/ 338995 w 764892"/>
                    <a:gd name="connsiteY11" fmla="*/ 1020040 h 1041706"/>
                    <a:gd name="connsiteX12" fmla="*/ 371494 w 764892"/>
                    <a:gd name="connsiteY12" fmla="*/ 691316 h 1041706"/>
                    <a:gd name="connsiteX13" fmla="*/ 378716 w 764892"/>
                    <a:gd name="connsiteY13" fmla="*/ 951431 h 1041706"/>
                    <a:gd name="connsiteX14" fmla="*/ 418436 w 764892"/>
                    <a:gd name="connsiteY14" fmla="*/ 951431 h 1041706"/>
                    <a:gd name="connsiteX15" fmla="*/ 418436 w 764892"/>
                    <a:gd name="connsiteY15" fmla="*/ 1041706 h 1041706"/>
                    <a:gd name="connsiteX16" fmla="*/ 508711 w 764892"/>
                    <a:gd name="connsiteY16" fmla="*/ 1041706 h 1041706"/>
                    <a:gd name="connsiteX17" fmla="*/ 508711 w 764892"/>
                    <a:gd name="connsiteY17" fmla="*/ 969487 h 1041706"/>
                    <a:gd name="connsiteX18" fmla="*/ 598986 w 764892"/>
                    <a:gd name="connsiteY18" fmla="*/ 969487 h 1041706"/>
                    <a:gd name="connsiteX19" fmla="*/ 598986 w 764892"/>
                    <a:gd name="connsiteY19" fmla="*/ 908100 h 1041706"/>
                    <a:gd name="connsiteX20" fmla="*/ 604589 w 764892"/>
                    <a:gd name="connsiteY20" fmla="*/ 908349 h 1041706"/>
                    <a:gd name="connsiteX21" fmla="*/ 604589 w 764892"/>
                    <a:gd name="connsiteY21" fmla="*/ 874480 h 10417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</a:cxnLst>
                  <a:rect l="l" t="t" r="r" b="b"/>
                  <a:pathLst>
                    <a:path w="764892" h="1041706">
                      <a:moveTo>
                        <a:pt x="604713" y="874480"/>
                      </a:moveTo>
                      <a:lnTo>
                        <a:pt x="749028" y="874480"/>
                      </a:lnTo>
                      <a:cubicBezTo>
                        <a:pt x="752639" y="781093"/>
                        <a:pt x="758741" y="650101"/>
                        <a:pt x="763472" y="505413"/>
                      </a:cubicBezTo>
                      <a:cubicBezTo>
                        <a:pt x="770694" y="285019"/>
                        <a:pt x="748032" y="9463"/>
                        <a:pt x="748032" y="9463"/>
                      </a:cubicBezTo>
                      <a:lnTo>
                        <a:pt x="49992" y="0"/>
                      </a:lnTo>
                      <a:cubicBezTo>
                        <a:pt x="49992" y="0"/>
                        <a:pt x="-14881" y="478268"/>
                        <a:pt x="3174" y="637152"/>
                      </a:cubicBezTo>
                      <a:cubicBezTo>
                        <a:pt x="21228" y="796035"/>
                        <a:pt x="46505" y="873360"/>
                        <a:pt x="46505" y="873360"/>
                      </a:cubicBezTo>
                      <a:lnTo>
                        <a:pt x="205388" y="873360"/>
                      </a:lnTo>
                      <a:lnTo>
                        <a:pt x="205388" y="980319"/>
                      </a:lnTo>
                      <a:lnTo>
                        <a:pt x="255942" y="980319"/>
                      </a:lnTo>
                      <a:lnTo>
                        <a:pt x="255942" y="1020040"/>
                      </a:lnTo>
                      <a:lnTo>
                        <a:pt x="338995" y="1020040"/>
                      </a:lnTo>
                      <a:lnTo>
                        <a:pt x="371494" y="691316"/>
                      </a:lnTo>
                      <a:lnTo>
                        <a:pt x="378716" y="951431"/>
                      </a:lnTo>
                      <a:lnTo>
                        <a:pt x="418436" y="951431"/>
                      </a:lnTo>
                      <a:lnTo>
                        <a:pt x="418436" y="1041706"/>
                      </a:lnTo>
                      <a:lnTo>
                        <a:pt x="508711" y="1041706"/>
                      </a:lnTo>
                      <a:lnTo>
                        <a:pt x="508711" y="969487"/>
                      </a:lnTo>
                      <a:lnTo>
                        <a:pt x="598986" y="969487"/>
                      </a:lnTo>
                      <a:lnTo>
                        <a:pt x="598986" y="908100"/>
                      </a:lnTo>
                      <a:lnTo>
                        <a:pt x="604589" y="908349"/>
                      </a:lnTo>
                      <a:lnTo>
                        <a:pt x="604589" y="87448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69" name="Полилиния: фигура 68">
                  <a:extLst>
                    <a:ext uri="{FF2B5EF4-FFF2-40B4-BE49-F238E27FC236}">
                      <a16:creationId xmlns:a16="http://schemas.microsoft.com/office/drawing/2014/main" id="{E88F44AA-3518-47D2-87D7-6D368A905B8E}"/>
                    </a:ext>
                  </a:extLst>
                </p:cNvPr>
                <p:cNvSpPr/>
                <p:nvPr/>
              </p:nvSpPr>
              <p:spPr>
                <a:xfrm>
                  <a:off x="8753945" y="3479510"/>
                  <a:ext cx="152781" cy="152781"/>
                </a:xfrm>
                <a:custGeom>
                  <a:avLst/>
                  <a:gdLst>
                    <a:gd name="connsiteX0" fmla="*/ 0 w 152781"/>
                    <a:gd name="connsiteY0" fmla="*/ 0 h 152781"/>
                    <a:gd name="connsiteX1" fmla="*/ 152782 w 152781"/>
                    <a:gd name="connsiteY1" fmla="*/ 0 h 152781"/>
                    <a:gd name="connsiteX2" fmla="*/ 152782 w 152781"/>
                    <a:gd name="connsiteY2" fmla="*/ 152782 h 152781"/>
                    <a:gd name="connsiteX3" fmla="*/ 0 w 152781"/>
                    <a:gd name="connsiteY3" fmla="*/ 152782 h 15278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52781" h="152781">
                      <a:moveTo>
                        <a:pt x="0" y="0"/>
                      </a:moveTo>
                      <a:lnTo>
                        <a:pt x="152782" y="0"/>
                      </a:lnTo>
                      <a:lnTo>
                        <a:pt x="152782" y="152782"/>
                      </a:lnTo>
                      <a:lnTo>
                        <a:pt x="0" y="152782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0" name="Полилиния: фигура 69">
                  <a:extLst>
                    <a:ext uri="{FF2B5EF4-FFF2-40B4-BE49-F238E27FC236}">
                      <a16:creationId xmlns:a16="http://schemas.microsoft.com/office/drawing/2014/main" id="{CAA86D09-E3DC-4BE8-A531-1D27BDDB760F}"/>
                    </a:ext>
                  </a:extLst>
                </p:cNvPr>
                <p:cNvSpPr/>
                <p:nvPr/>
              </p:nvSpPr>
              <p:spPr>
                <a:xfrm>
                  <a:off x="8927646" y="3555839"/>
                  <a:ext cx="41713" cy="50927"/>
                </a:xfrm>
                <a:custGeom>
                  <a:avLst/>
                  <a:gdLst>
                    <a:gd name="connsiteX0" fmla="*/ 0 w 41713"/>
                    <a:gd name="connsiteY0" fmla="*/ 0 h 50927"/>
                    <a:gd name="connsiteX1" fmla="*/ 41713 w 41713"/>
                    <a:gd name="connsiteY1" fmla="*/ 0 h 50927"/>
                    <a:gd name="connsiteX2" fmla="*/ 41713 w 41713"/>
                    <a:gd name="connsiteY2" fmla="*/ 50927 h 50927"/>
                    <a:gd name="connsiteX3" fmla="*/ 0 w 41713"/>
                    <a:gd name="connsiteY3" fmla="*/ 50927 h 5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13" h="50927">
                      <a:moveTo>
                        <a:pt x="0" y="0"/>
                      </a:moveTo>
                      <a:lnTo>
                        <a:pt x="41713" y="0"/>
                      </a:lnTo>
                      <a:lnTo>
                        <a:pt x="41713" y="50927"/>
                      </a:lnTo>
                      <a:lnTo>
                        <a:pt x="0" y="5092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1" name="Полилиния: фигура 70">
                  <a:extLst>
                    <a:ext uri="{FF2B5EF4-FFF2-40B4-BE49-F238E27FC236}">
                      <a16:creationId xmlns:a16="http://schemas.microsoft.com/office/drawing/2014/main" id="{426AE03F-CBE9-4827-9B30-36E0D8719873}"/>
                    </a:ext>
                  </a:extLst>
                </p:cNvPr>
                <p:cNvSpPr/>
                <p:nvPr/>
              </p:nvSpPr>
              <p:spPr>
                <a:xfrm>
                  <a:off x="9422102" y="3440661"/>
                  <a:ext cx="41713" cy="50927"/>
                </a:xfrm>
                <a:custGeom>
                  <a:avLst/>
                  <a:gdLst>
                    <a:gd name="connsiteX0" fmla="*/ 0 w 41713"/>
                    <a:gd name="connsiteY0" fmla="*/ 0 h 50927"/>
                    <a:gd name="connsiteX1" fmla="*/ 41713 w 41713"/>
                    <a:gd name="connsiteY1" fmla="*/ 0 h 50927"/>
                    <a:gd name="connsiteX2" fmla="*/ 41713 w 41713"/>
                    <a:gd name="connsiteY2" fmla="*/ 50927 h 50927"/>
                    <a:gd name="connsiteX3" fmla="*/ 0 w 41713"/>
                    <a:gd name="connsiteY3" fmla="*/ 50927 h 5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13" h="50927">
                      <a:moveTo>
                        <a:pt x="0" y="0"/>
                      </a:moveTo>
                      <a:lnTo>
                        <a:pt x="41713" y="0"/>
                      </a:lnTo>
                      <a:lnTo>
                        <a:pt x="41713" y="50927"/>
                      </a:lnTo>
                      <a:lnTo>
                        <a:pt x="0" y="5092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2" name="Полилиния: фигура 71">
                  <a:extLst>
                    <a:ext uri="{FF2B5EF4-FFF2-40B4-BE49-F238E27FC236}">
                      <a16:creationId xmlns:a16="http://schemas.microsoft.com/office/drawing/2014/main" id="{99FBE141-6B09-4C93-AB20-D95A77469122}"/>
                    </a:ext>
                  </a:extLst>
                </p:cNvPr>
                <p:cNvSpPr/>
                <p:nvPr/>
              </p:nvSpPr>
              <p:spPr>
                <a:xfrm>
                  <a:off x="9004099" y="3595311"/>
                  <a:ext cx="81060" cy="97247"/>
                </a:xfrm>
                <a:custGeom>
                  <a:avLst/>
                  <a:gdLst>
                    <a:gd name="connsiteX0" fmla="*/ 0 w 81060"/>
                    <a:gd name="connsiteY0" fmla="*/ 0 h 97247"/>
                    <a:gd name="connsiteX1" fmla="*/ 81060 w 81060"/>
                    <a:gd name="connsiteY1" fmla="*/ 0 h 97247"/>
                    <a:gd name="connsiteX2" fmla="*/ 81060 w 81060"/>
                    <a:gd name="connsiteY2" fmla="*/ 97247 h 97247"/>
                    <a:gd name="connsiteX3" fmla="*/ 0 w 81060"/>
                    <a:gd name="connsiteY3" fmla="*/ 97247 h 972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1060" h="97247">
                      <a:moveTo>
                        <a:pt x="0" y="0"/>
                      </a:moveTo>
                      <a:lnTo>
                        <a:pt x="81060" y="0"/>
                      </a:lnTo>
                      <a:lnTo>
                        <a:pt x="81060" y="97247"/>
                      </a:lnTo>
                      <a:lnTo>
                        <a:pt x="0" y="9724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3" name="Полилиния: фигура 72">
                  <a:extLst>
                    <a:ext uri="{FF2B5EF4-FFF2-40B4-BE49-F238E27FC236}">
                      <a16:creationId xmlns:a16="http://schemas.microsoft.com/office/drawing/2014/main" id="{54EF4316-3837-415F-8257-C06C325E1999}"/>
                    </a:ext>
                  </a:extLst>
                </p:cNvPr>
                <p:cNvSpPr/>
                <p:nvPr/>
              </p:nvSpPr>
              <p:spPr>
                <a:xfrm>
                  <a:off x="9275048" y="3532679"/>
                  <a:ext cx="141201" cy="155147"/>
                </a:xfrm>
                <a:custGeom>
                  <a:avLst/>
                  <a:gdLst>
                    <a:gd name="connsiteX0" fmla="*/ 0 w 141201"/>
                    <a:gd name="connsiteY0" fmla="*/ 0 h 155147"/>
                    <a:gd name="connsiteX1" fmla="*/ 141202 w 141201"/>
                    <a:gd name="connsiteY1" fmla="*/ 0 h 155147"/>
                    <a:gd name="connsiteX2" fmla="*/ 141202 w 141201"/>
                    <a:gd name="connsiteY2" fmla="*/ 155148 h 155147"/>
                    <a:gd name="connsiteX3" fmla="*/ 0 w 141201"/>
                    <a:gd name="connsiteY3" fmla="*/ 155148 h 1551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1201" h="155147">
                      <a:moveTo>
                        <a:pt x="0" y="0"/>
                      </a:moveTo>
                      <a:lnTo>
                        <a:pt x="141202" y="0"/>
                      </a:lnTo>
                      <a:lnTo>
                        <a:pt x="141202" y="155148"/>
                      </a:lnTo>
                      <a:lnTo>
                        <a:pt x="0" y="155148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4" name="Полилиния: фигура 73">
                  <a:extLst>
                    <a:ext uri="{FF2B5EF4-FFF2-40B4-BE49-F238E27FC236}">
                      <a16:creationId xmlns:a16="http://schemas.microsoft.com/office/drawing/2014/main" id="{32230823-6567-4C94-BB2B-6BECF8D498B7}"/>
                    </a:ext>
                  </a:extLst>
                </p:cNvPr>
                <p:cNvSpPr/>
                <p:nvPr/>
              </p:nvSpPr>
              <p:spPr>
                <a:xfrm>
                  <a:off x="9170827" y="3713352"/>
                  <a:ext cx="178307" cy="99613"/>
                </a:xfrm>
                <a:custGeom>
                  <a:avLst/>
                  <a:gdLst>
                    <a:gd name="connsiteX0" fmla="*/ 0 w 178307"/>
                    <a:gd name="connsiteY0" fmla="*/ 0 h 99613"/>
                    <a:gd name="connsiteX1" fmla="*/ 178308 w 178307"/>
                    <a:gd name="connsiteY1" fmla="*/ 0 h 99613"/>
                    <a:gd name="connsiteX2" fmla="*/ 178308 w 178307"/>
                    <a:gd name="connsiteY2" fmla="*/ 99613 h 99613"/>
                    <a:gd name="connsiteX3" fmla="*/ 0 w 178307"/>
                    <a:gd name="connsiteY3" fmla="*/ 99613 h 996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8307" h="99613">
                      <a:moveTo>
                        <a:pt x="0" y="0"/>
                      </a:moveTo>
                      <a:lnTo>
                        <a:pt x="178308" y="0"/>
                      </a:lnTo>
                      <a:lnTo>
                        <a:pt x="178308" y="99613"/>
                      </a:lnTo>
                      <a:lnTo>
                        <a:pt x="0" y="9961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5" name="Полилиния: фигура 74">
                  <a:extLst>
                    <a:ext uri="{FF2B5EF4-FFF2-40B4-BE49-F238E27FC236}">
                      <a16:creationId xmlns:a16="http://schemas.microsoft.com/office/drawing/2014/main" id="{46428937-9093-4A57-8D55-D4D73C6F2500}"/>
                    </a:ext>
                  </a:extLst>
                </p:cNvPr>
                <p:cNvSpPr/>
                <p:nvPr/>
              </p:nvSpPr>
              <p:spPr>
                <a:xfrm>
                  <a:off x="8802631" y="3693181"/>
                  <a:ext cx="175942" cy="108827"/>
                </a:xfrm>
                <a:custGeom>
                  <a:avLst/>
                  <a:gdLst>
                    <a:gd name="connsiteX0" fmla="*/ 0 w 175942"/>
                    <a:gd name="connsiteY0" fmla="*/ 0 h 108827"/>
                    <a:gd name="connsiteX1" fmla="*/ 175942 w 175942"/>
                    <a:gd name="connsiteY1" fmla="*/ 0 h 108827"/>
                    <a:gd name="connsiteX2" fmla="*/ 175942 w 175942"/>
                    <a:gd name="connsiteY2" fmla="*/ 108828 h 108827"/>
                    <a:gd name="connsiteX3" fmla="*/ 0 w 175942"/>
                    <a:gd name="connsiteY3" fmla="*/ 108828 h 1088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75942" h="108827">
                      <a:moveTo>
                        <a:pt x="0" y="0"/>
                      </a:moveTo>
                      <a:lnTo>
                        <a:pt x="175942" y="0"/>
                      </a:lnTo>
                      <a:lnTo>
                        <a:pt x="175942" y="108828"/>
                      </a:lnTo>
                      <a:lnTo>
                        <a:pt x="0" y="108828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6" name="Полилиния: фигура 75">
                  <a:extLst>
                    <a:ext uri="{FF2B5EF4-FFF2-40B4-BE49-F238E27FC236}">
                      <a16:creationId xmlns:a16="http://schemas.microsoft.com/office/drawing/2014/main" id="{7C03A493-BB23-4E44-8150-4A5B7C11DA08}"/>
                    </a:ext>
                  </a:extLst>
                </p:cNvPr>
                <p:cNvSpPr/>
                <p:nvPr/>
              </p:nvSpPr>
              <p:spPr>
                <a:xfrm>
                  <a:off x="9013563" y="3763657"/>
                  <a:ext cx="115800" cy="76453"/>
                </a:xfrm>
                <a:custGeom>
                  <a:avLst/>
                  <a:gdLst>
                    <a:gd name="connsiteX0" fmla="*/ 0 w 115800"/>
                    <a:gd name="connsiteY0" fmla="*/ 0 h 76453"/>
                    <a:gd name="connsiteX1" fmla="*/ 115801 w 115800"/>
                    <a:gd name="connsiteY1" fmla="*/ 0 h 76453"/>
                    <a:gd name="connsiteX2" fmla="*/ 115801 w 115800"/>
                    <a:gd name="connsiteY2" fmla="*/ 76453 h 76453"/>
                    <a:gd name="connsiteX3" fmla="*/ 0 w 115800"/>
                    <a:gd name="connsiteY3" fmla="*/ 76453 h 7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15800" h="76453">
                      <a:moveTo>
                        <a:pt x="0" y="0"/>
                      </a:moveTo>
                      <a:lnTo>
                        <a:pt x="115801" y="0"/>
                      </a:lnTo>
                      <a:lnTo>
                        <a:pt x="115801" y="76453"/>
                      </a:lnTo>
                      <a:lnTo>
                        <a:pt x="0" y="7645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7" name="Полилиния: фигура 76">
                  <a:extLst>
                    <a:ext uri="{FF2B5EF4-FFF2-40B4-BE49-F238E27FC236}">
                      <a16:creationId xmlns:a16="http://schemas.microsoft.com/office/drawing/2014/main" id="{42BF65E5-FFB7-496C-B780-4661A473495B}"/>
                    </a:ext>
                  </a:extLst>
                </p:cNvPr>
                <p:cNvSpPr/>
                <p:nvPr/>
              </p:nvSpPr>
              <p:spPr>
                <a:xfrm>
                  <a:off x="9389852" y="3725181"/>
                  <a:ext cx="87784" cy="76453"/>
                </a:xfrm>
                <a:custGeom>
                  <a:avLst/>
                  <a:gdLst>
                    <a:gd name="connsiteX0" fmla="*/ 0 w 87784"/>
                    <a:gd name="connsiteY0" fmla="*/ 0 h 76453"/>
                    <a:gd name="connsiteX1" fmla="*/ 87784 w 87784"/>
                    <a:gd name="connsiteY1" fmla="*/ 0 h 76453"/>
                    <a:gd name="connsiteX2" fmla="*/ 87784 w 87784"/>
                    <a:gd name="connsiteY2" fmla="*/ 76453 h 76453"/>
                    <a:gd name="connsiteX3" fmla="*/ 0 w 87784"/>
                    <a:gd name="connsiteY3" fmla="*/ 76453 h 7645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87784" h="76453">
                      <a:moveTo>
                        <a:pt x="0" y="0"/>
                      </a:moveTo>
                      <a:lnTo>
                        <a:pt x="87784" y="0"/>
                      </a:lnTo>
                      <a:lnTo>
                        <a:pt x="87784" y="76453"/>
                      </a:lnTo>
                      <a:lnTo>
                        <a:pt x="0" y="7645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8" name="Полилиния: фигура 77">
                  <a:extLst>
                    <a:ext uri="{FF2B5EF4-FFF2-40B4-BE49-F238E27FC236}">
                      <a16:creationId xmlns:a16="http://schemas.microsoft.com/office/drawing/2014/main" id="{30273E6D-343E-4D92-8F32-A6BC4F3F04BF}"/>
                    </a:ext>
                  </a:extLst>
                </p:cNvPr>
                <p:cNvSpPr/>
                <p:nvPr/>
              </p:nvSpPr>
              <p:spPr>
                <a:xfrm>
                  <a:off x="9220883" y="3859535"/>
                  <a:ext cx="152906" cy="129248"/>
                </a:xfrm>
                <a:custGeom>
                  <a:avLst/>
                  <a:gdLst>
                    <a:gd name="connsiteX0" fmla="*/ 152907 w 152906"/>
                    <a:gd name="connsiteY0" fmla="*/ 0 h 129248"/>
                    <a:gd name="connsiteX1" fmla="*/ 100111 w 152906"/>
                    <a:gd name="connsiteY1" fmla="*/ 0 h 129248"/>
                    <a:gd name="connsiteX2" fmla="*/ 0 w 152906"/>
                    <a:gd name="connsiteY2" fmla="*/ 0 h 129248"/>
                    <a:gd name="connsiteX3" fmla="*/ 0 w 152906"/>
                    <a:gd name="connsiteY3" fmla="*/ 64749 h 129248"/>
                    <a:gd name="connsiteX4" fmla="*/ 0 w 152906"/>
                    <a:gd name="connsiteY4" fmla="*/ 129248 h 129248"/>
                    <a:gd name="connsiteX5" fmla="*/ 100111 w 152906"/>
                    <a:gd name="connsiteY5" fmla="*/ 129248 h 129248"/>
                    <a:gd name="connsiteX6" fmla="*/ 100111 w 152906"/>
                    <a:gd name="connsiteY6" fmla="*/ 64749 h 129248"/>
                    <a:gd name="connsiteX7" fmla="*/ 152907 w 152906"/>
                    <a:gd name="connsiteY7" fmla="*/ 64749 h 129248"/>
                    <a:gd name="connsiteX8" fmla="*/ 152907 w 152906"/>
                    <a:gd name="connsiteY8" fmla="*/ 0 h 12924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52906" h="129248">
                      <a:moveTo>
                        <a:pt x="152907" y="0"/>
                      </a:moveTo>
                      <a:lnTo>
                        <a:pt x="100111" y="0"/>
                      </a:lnTo>
                      <a:lnTo>
                        <a:pt x="0" y="0"/>
                      </a:lnTo>
                      <a:lnTo>
                        <a:pt x="0" y="64749"/>
                      </a:lnTo>
                      <a:lnTo>
                        <a:pt x="0" y="129248"/>
                      </a:lnTo>
                      <a:lnTo>
                        <a:pt x="100111" y="129248"/>
                      </a:lnTo>
                      <a:lnTo>
                        <a:pt x="100111" y="64749"/>
                      </a:lnTo>
                      <a:lnTo>
                        <a:pt x="152907" y="64749"/>
                      </a:lnTo>
                      <a:lnTo>
                        <a:pt x="152907" y="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79" name="Полилиния: фигура 78">
                  <a:extLst>
                    <a:ext uri="{FF2B5EF4-FFF2-40B4-BE49-F238E27FC236}">
                      <a16:creationId xmlns:a16="http://schemas.microsoft.com/office/drawing/2014/main" id="{BE910852-E89D-41BB-B0DC-E2B53D2DA25C}"/>
                    </a:ext>
                  </a:extLst>
                </p:cNvPr>
                <p:cNvSpPr/>
                <p:nvPr/>
              </p:nvSpPr>
              <p:spPr>
                <a:xfrm>
                  <a:off x="9073580" y="3924034"/>
                  <a:ext cx="62507" cy="62507"/>
                </a:xfrm>
                <a:custGeom>
                  <a:avLst/>
                  <a:gdLst>
                    <a:gd name="connsiteX0" fmla="*/ 0 w 62507"/>
                    <a:gd name="connsiteY0" fmla="*/ 0 h 62507"/>
                    <a:gd name="connsiteX1" fmla="*/ 62507 w 62507"/>
                    <a:gd name="connsiteY1" fmla="*/ 0 h 62507"/>
                    <a:gd name="connsiteX2" fmla="*/ 62507 w 62507"/>
                    <a:gd name="connsiteY2" fmla="*/ 62507 h 62507"/>
                    <a:gd name="connsiteX3" fmla="*/ 0 w 62507"/>
                    <a:gd name="connsiteY3" fmla="*/ 62507 h 62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07" h="62507">
                      <a:moveTo>
                        <a:pt x="0" y="0"/>
                      </a:moveTo>
                      <a:lnTo>
                        <a:pt x="62507" y="0"/>
                      </a:lnTo>
                      <a:lnTo>
                        <a:pt x="62507" y="62507"/>
                      </a:lnTo>
                      <a:lnTo>
                        <a:pt x="0" y="6250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0" name="Полилиния: фигура 79">
                  <a:extLst>
                    <a:ext uri="{FF2B5EF4-FFF2-40B4-BE49-F238E27FC236}">
                      <a16:creationId xmlns:a16="http://schemas.microsoft.com/office/drawing/2014/main" id="{742C4304-DA7E-447D-A7D1-D0B74AF64F7A}"/>
                    </a:ext>
                  </a:extLst>
                </p:cNvPr>
                <p:cNvSpPr/>
                <p:nvPr/>
              </p:nvSpPr>
              <p:spPr>
                <a:xfrm>
                  <a:off x="8885435" y="3868500"/>
                  <a:ext cx="120407" cy="95006"/>
                </a:xfrm>
                <a:custGeom>
                  <a:avLst/>
                  <a:gdLst>
                    <a:gd name="connsiteX0" fmla="*/ 0 w 120407"/>
                    <a:gd name="connsiteY0" fmla="*/ 0 h 95006"/>
                    <a:gd name="connsiteX1" fmla="*/ 120408 w 120407"/>
                    <a:gd name="connsiteY1" fmla="*/ 0 h 95006"/>
                    <a:gd name="connsiteX2" fmla="*/ 120408 w 120407"/>
                    <a:gd name="connsiteY2" fmla="*/ 95006 h 95006"/>
                    <a:gd name="connsiteX3" fmla="*/ 0 w 120407"/>
                    <a:gd name="connsiteY3" fmla="*/ 95006 h 9500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20407" h="95006">
                      <a:moveTo>
                        <a:pt x="0" y="0"/>
                      </a:moveTo>
                      <a:lnTo>
                        <a:pt x="120408" y="0"/>
                      </a:lnTo>
                      <a:lnTo>
                        <a:pt x="120408" y="95006"/>
                      </a:lnTo>
                      <a:lnTo>
                        <a:pt x="0" y="9500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1" name="Полилиния: фигура 80">
                  <a:extLst>
                    <a:ext uri="{FF2B5EF4-FFF2-40B4-BE49-F238E27FC236}">
                      <a16:creationId xmlns:a16="http://schemas.microsoft.com/office/drawing/2014/main" id="{C47E19E7-F51A-456B-AC97-56D5427546A8}"/>
                    </a:ext>
                  </a:extLst>
                </p:cNvPr>
                <p:cNvSpPr/>
                <p:nvPr/>
              </p:nvSpPr>
              <p:spPr>
                <a:xfrm>
                  <a:off x="8906852" y="4028255"/>
                  <a:ext cx="97247" cy="71846"/>
                </a:xfrm>
                <a:custGeom>
                  <a:avLst/>
                  <a:gdLst>
                    <a:gd name="connsiteX0" fmla="*/ 0 w 97247"/>
                    <a:gd name="connsiteY0" fmla="*/ 0 h 71846"/>
                    <a:gd name="connsiteX1" fmla="*/ 97248 w 97247"/>
                    <a:gd name="connsiteY1" fmla="*/ 0 h 71846"/>
                    <a:gd name="connsiteX2" fmla="*/ 97248 w 97247"/>
                    <a:gd name="connsiteY2" fmla="*/ 71846 h 71846"/>
                    <a:gd name="connsiteX3" fmla="*/ 0 w 97247"/>
                    <a:gd name="connsiteY3" fmla="*/ 71846 h 718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7247" h="71846">
                      <a:moveTo>
                        <a:pt x="0" y="0"/>
                      </a:moveTo>
                      <a:lnTo>
                        <a:pt x="97248" y="0"/>
                      </a:lnTo>
                      <a:lnTo>
                        <a:pt x="97248" y="71846"/>
                      </a:lnTo>
                      <a:lnTo>
                        <a:pt x="0" y="7184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2" name="Полилиния: фигура 81">
                  <a:extLst>
                    <a:ext uri="{FF2B5EF4-FFF2-40B4-BE49-F238E27FC236}">
                      <a16:creationId xmlns:a16="http://schemas.microsoft.com/office/drawing/2014/main" id="{847F3504-F996-46EA-8DF0-9DC3947ACB8C}"/>
                    </a:ext>
                  </a:extLst>
                </p:cNvPr>
                <p:cNvSpPr/>
                <p:nvPr/>
              </p:nvSpPr>
              <p:spPr>
                <a:xfrm>
                  <a:off x="8828157" y="4090887"/>
                  <a:ext cx="62507" cy="57900"/>
                </a:xfrm>
                <a:custGeom>
                  <a:avLst/>
                  <a:gdLst>
                    <a:gd name="connsiteX0" fmla="*/ 0 w 62507"/>
                    <a:gd name="connsiteY0" fmla="*/ 0 h 57900"/>
                    <a:gd name="connsiteX1" fmla="*/ 62507 w 62507"/>
                    <a:gd name="connsiteY1" fmla="*/ 0 h 57900"/>
                    <a:gd name="connsiteX2" fmla="*/ 62507 w 62507"/>
                    <a:gd name="connsiteY2" fmla="*/ 57900 h 57900"/>
                    <a:gd name="connsiteX3" fmla="*/ 0 w 62507"/>
                    <a:gd name="connsiteY3" fmla="*/ 57900 h 57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2507" h="57900">
                      <a:moveTo>
                        <a:pt x="0" y="0"/>
                      </a:moveTo>
                      <a:lnTo>
                        <a:pt x="62507" y="0"/>
                      </a:lnTo>
                      <a:lnTo>
                        <a:pt x="62507" y="57900"/>
                      </a:lnTo>
                      <a:lnTo>
                        <a:pt x="0" y="5790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3" name="Полилиния: фигура 82">
                  <a:extLst>
                    <a:ext uri="{FF2B5EF4-FFF2-40B4-BE49-F238E27FC236}">
                      <a16:creationId xmlns:a16="http://schemas.microsoft.com/office/drawing/2014/main" id="{67E4F954-1329-459C-A15B-6260EEAA60D5}"/>
                    </a:ext>
                  </a:extLst>
                </p:cNvPr>
                <p:cNvSpPr/>
                <p:nvPr/>
              </p:nvSpPr>
              <p:spPr>
                <a:xfrm>
                  <a:off x="8948565" y="4141690"/>
                  <a:ext cx="96998" cy="57900"/>
                </a:xfrm>
                <a:custGeom>
                  <a:avLst/>
                  <a:gdLst>
                    <a:gd name="connsiteX0" fmla="*/ 0 w 96998"/>
                    <a:gd name="connsiteY0" fmla="*/ 0 h 57900"/>
                    <a:gd name="connsiteX1" fmla="*/ 96998 w 96998"/>
                    <a:gd name="connsiteY1" fmla="*/ 0 h 57900"/>
                    <a:gd name="connsiteX2" fmla="*/ 96998 w 96998"/>
                    <a:gd name="connsiteY2" fmla="*/ 57900 h 57900"/>
                    <a:gd name="connsiteX3" fmla="*/ 0 w 96998"/>
                    <a:gd name="connsiteY3" fmla="*/ 57900 h 57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6998" h="57900">
                      <a:moveTo>
                        <a:pt x="0" y="0"/>
                      </a:moveTo>
                      <a:lnTo>
                        <a:pt x="96998" y="0"/>
                      </a:lnTo>
                      <a:lnTo>
                        <a:pt x="96998" y="57900"/>
                      </a:lnTo>
                      <a:lnTo>
                        <a:pt x="0" y="5790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4" name="Полилиния: фигура 83">
                  <a:extLst>
                    <a:ext uri="{FF2B5EF4-FFF2-40B4-BE49-F238E27FC236}">
                      <a16:creationId xmlns:a16="http://schemas.microsoft.com/office/drawing/2014/main" id="{CEFBCE0F-97FC-4730-A78B-96F52A758DB5}"/>
                    </a:ext>
                  </a:extLst>
                </p:cNvPr>
                <p:cNvSpPr/>
                <p:nvPr/>
              </p:nvSpPr>
              <p:spPr>
                <a:xfrm>
                  <a:off x="8890665" y="4206563"/>
                  <a:ext cx="39347" cy="39347"/>
                </a:xfrm>
                <a:custGeom>
                  <a:avLst/>
                  <a:gdLst>
                    <a:gd name="connsiteX0" fmla="*/ 0 w 39347"/>
                    <a:gd name="connsiteY0" fmla="*/ 0 h 39347"/>
                    <a:gd name="connsiteX1" fmla="*/ 39347 w 39347"/>
                    <a:gd name="connsiteY1" fmla="*/ 0 h 39347"/>
                    <a:gd name="connsiteX2" fmla="*/ 39347 w 39347"/>
                    <a:gd name="connsiteY2" fmla="*/ 39347 h 39347"/>
                    <a:gd name="connsiteX3" fmla="*/ 0 w 39347"/>
                    <a:gd name="connsiteY3" fmla="*/ 39347 h 39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47" h="39347">
                      <a:moveTo>
                        <a:pt x="0" y="0"/>
                      </a:moveTo>
                      <a:lnTo>
                        <a:pt x="39347" y="0"/>
                      </a:lnTo>
                      <a:lnTo>
                        <a:pt x="39347" y="39347"/>
                      </a:lnTo>
                      <a:lnTo>
                        <a:pt x="0" y="3934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5" name="Полилиния: фигура 84">
                  <a:extLst>
                    <a:ext uri="{FF2B5EF4-FFF2-40B4-BE49-F238E27FC236}">
                      <a16:creationId xmlns:a16="http://schemas.microsoft.com/office/drawing/2014/main" id="{1CA4E6CE-24EA-48BD-891C-4C9D40524609}"/>
                    </a:ext>
                  </a:extLst>
                </p:cNvPr>
                <p:cNvSpPr/>
                <p:nvPr/>
              </p:nvSpPr>
              <p:spPr>
                <a:xfrm>
                  <a:off x="9007461" y="4228727"/>
                  <a:ext cx="66865" cy="43082"/>
                </a:xfrm>
                <a:custGeom>
                  <a:avLst/>
                  <a:gdLst>
                    <a:gd name="connsiteX0" fmla="*/ 0 w 66865"/>
                    <a:gd name="connsiteY0" fmla="*/ 0 h 43082"/>
                    <a:gd name="connsiteX1" fmla="*/ 66865 w 66865"/>
                    <a:gd name="connsiteY1" fmla="*/ 0 h 43082"/>
                    <a:gd name="connsiteX2" fmla="*/ 66865 w 66865"/>
                    <a:gd name="connsiteY2" fmla="*/ 43083 h 43082"/>
                    <a:gd name="connsiteX3" fmla="*/ 0 w 66865"/>
                    <a:gd name="connsiteY3" fmla="*/ 43083 h 430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6865" h="43082">
                      <a:moveTo>
                        <a:pt x="0" y="0"/>
                      </a:moveTo>
                      <a:lnTo>
                        <a:pt x="66865" y="0"/>
                      </a:lnTo>
                      <a:lnTo>
                        <a:pt x="66865" y="43083"/>
                      </a:lnTo>
                      <a:lnTo>
                        <a:pt x="0" y="4308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6" name="Полилиния: фигура 85">
                  <a:extLst>
                    <a:ext uri="{FF2B5EF4-FFF2-40B4-BE49-F238E27FC236}">
                      <a16:creationId xmlns:a16="http://schemas.microsoft.com/office/drawing/2014/main" id="{A347238C-90E8-465A-BEBE-9143991AEF76}"/>
                    </a:ext>
                  </a:extLst>
                </p:cNvPr>
                <p:cNvSpPr/>
                <p:nvPr/>
              </p:nvSpPr>
              <p:spPr>
                <a:xfrm>
                  <a:off x="8960145" y="4232089"/>
                  <a:ext cx="30133" cy="113434"/>
                </a:xfrm>
                <a:custGeom>
                  <a:avLst/>
                  <a:gdLst>
                    <a:gd name="connsiteX0" fmla="*/ 0 w 30133"/>
                    <a:gd name="connsiteY0" fmla="*/ 0 h 113434"/>
                    <a:gd name="connsiteX1" fmla="*/ 30133 w 30133"/>
                    <a:gd name="connsiteY1" fmla="*/ 0 h 113434"/>
                    <a:gd name="connsiteX2" fmla="*/ 30133 w 30133"/>
                    <a:gd name="connsiteY2" fmla="*/ 113434 h 113434"/>
                    <a:gd name="connsiteX3" fmla="*/ 0 w 30133"/>
                    <a:gd name="connsiteY3" fmla="*/ 113434 h 11343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0133" h="113434">
                      <a:moveTo>
                        <a:pt x="0" y="0"/>
                      </a:moveTo>
                      <a:lnTo>
                        <a:pt x="30133" y="0"/>
                      </a:lnTo>
                      <a:lnTo>
                        <a:pt x="30133" y="113434"/>
                      </a:lnTo>
                      <a:lnTo>
                        <a:pt x="0" y="113434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7" name="Полилиния: фигура 86">
                  <a:extLst>
                    <a:ext uri="{FF2B5EF4-FFF2-40B4-BE49-F238E27FC236}">
                      <a16:creationId xmlns:a16="http://schemas.microsoft.com/office/drawing/2014/main" id="{B3792D12-B9EF-4F6C-B8A9-2E129A1D4512}"/>
                    </a:ext>
                  </a:extLst>
                </p:cNvPr>
                <p:cNvSpPr/>
                <p:nvPr/>
              </p:nvSpPr>
              <p:spPr>
                <a:xfrm>
                  <a:off x="8881326" y="4317756"/>
                  <a:ext cx="32374" cy="40467"/>
                </a:xfrm>
                <a:custGeom>
                  <a:avLst/>
                  <a:gdLst>
                    <a:gd name="connsiteX0" fmla="*/ 0 w 32374"/>
                    <a:gd name="connsiteY0" fmla="*/ 0 h 40467"/>
                    <a:gd name="connsiteX1" fmla="*/ 32374 w 32374"/>
                    <a:gd name="connsiteY1" fmla="*/ 0 h 40467"/>
                    <a:gd name="connsiteX2" fmla="*/ 32374 w 32374"/>
                    <a:gd name="connsiteY2" fmla="*/ 40468 h 40467"/>
                    <a:gd name="connsiteX3" fmla="*/ 0 w 32374"/>
                    <a:gd name="connsiteY3" fmla="*/ 40468 h 4046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374" h="40467">
                      <a:moveTo>
                        <a:pt x="0" y="0"/>
                      </a:moveTo>
                      <a:lnTo>
                        <a:pt x="32374" y="0"/>
                      </a:lnTo>
                      <a:lnTo>
                        <a:pt x="32374" y="40468"/>
                      </a:lnTo>
                      <a:lnTo>
                        <a:pt x="0" y="40468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8" name="Полилиния: фигура 87">
                  <a:extLst>
                    <a:ext uri="{FF2B5EF4-FFF2-40B4-BE49-F238E27FC236}">
                      <a16:creationId xmlns:a16="http://schemas.microsoft.com/office/drawing/2014/main" id="{A0ABF847-5006-4F29-A52A-882A4D26B193}"/>
                    </a:ext>
                  </a:extLst>
                </p:cNvPr>
                <p:cNvSpPr/>
                <p:nvPr/>
              </p:nvSpPr>
              <p:spPr>
                <a:xfrm>
                  <a:off x="8991150" y="4393960"/>
                  <a:ext cx="67238" cy="93636"/>
                </a:xfrm>
                <a:custGeom>
                  <a:avLst/>
                  <a:gdLst>
                    <a:gd name="connsiteX0" fmla="*/ 0 w 67238"/>
                    <a:gd name="connsiteY0" fmla="*/ 0 h 93636"/>
                    <a:gd name="connsiteX1" fmla="*/ 67239 w 67238"/>
                    <a:gd name="connsiteY1" fmla="*/ 0 h 93636"/>
                    <a:gd name="connsiteX2" fmla="*/ 67239 w 67238"/>
                    <a:gd name="connsiteY2" fmla="*/ 93636 h 93636"/>
                    <a:gd name="connsiteX3" fmla="*/ 0 w 67238"/>
                    <a:gd name="connsiteY3" fmla="*/ 93636 h 9363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7238" h="93636">
                      <a:moveTo>
                        <a:pt x="0" y="0"/>
                      </a:moveTo>
                      <a:lnTo>
                        <a:pt x="67239" y="0"/>
                      </a:lnTo>
                      <a:lnTo>
                        <a:pt x="67239" y="93636"/>
                      </a:lnTo>
                      <a:lnTo>
                        <a:pt x="0" y="9363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89" name="Полилиния: фигура 88">
                  <a:extLst>
                    <a:ext uri="{FF2B5EF4-FFF2-40B4-BE49-F238E27FC236}">
                      <a16:creationId xmlns:a16="http://schemas.microsoft.com/office/drawing/2014/main" id="{3339B1A1-DE18-4E7C-8572-F9FFA4EF640E}"/>
                    </a:ext>
                  </a:extLst>
                </p:cNvPr>
                <p:cNvSpPr/>
                <p:nvPr/>
              </p:nvSpPr>
              <p:spPr>
                <a:xfrm>
                  <a:off x="9112678" y="4028255"/>
                  <a:ext cx="69480" cy="67114"/>
                </a:xfrm>
                <a:custGeom>
                  <a:avLst/>
                  <a:gdLst>
                    <a:gd name="connsiteX0" fmla="*/ 0 w 69480"/>
                    <a:gd name="connsiteY0" fmla="*/ 0 h 67114"/>
                    <a:gd name="connsiteX1" fmla="*/ 69480 w 69480"/>
                    <a:gd name="connsiteY1" fmla="*/ 0 h 67114"/>
                    <a:gd name="connsiteX2" fmla="*/ 69480 w 69480"/>
                    <a:gd name="connsiteY2" fmla="*/ 67115 h 67114"/>
                    <a:gd name="connsiteX3" fmla="*/ 0 w 69480"/>
                    <a:gd name="connsiteY3" fmla="*/ 67115 h 6711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69480" h="67114">
                      <a:moveTo>
                        <a:pt x="0" y="0"/>
                      </a:moveTo>
                      <a:lnTo>
                        <a:pt x="69480" y="0"/>
                      </a:lnTo>
                      <a:lnTo>
                        <a:pt x="69480" y="67115"/>
                      </a:lnTo>
                      <a:lnTo>
                        <a:pt x="0" y="67115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0" name="Полилиния: фигура 89">
                  <a:extLst>
                    <a:ext uri="{FF2B5EF4-FFF2-40B4-BE49-F238E27FC236}">
                      <a16:creationId xmlns:a16="http://schemas.microsoft.com/office/drawing/2014/main" id="{1E8CC723-3F2B-454B-B2EC-26C39F738B9F}"/>
                    </a:ext>
                  </a:extLst>
                </p:cNvPr>
                <p:cNvSpPr/>
                <p:nvPr/>
              </p:nvSpPr>
              <p:spPr>
                <a:xfrm>
                  <a:off x="9131231" y="4137207"/>
                  <a:ext cx="145933" cy="41713"/>
                </a:xfrm>
                <a:custGeom>
                  <a:avLst/>
                  <a:gdLst>
                    <a:gd name="connsiteX0" fmla="*/ 0 w 145933"/>
                    <a:gd name="connsiteY0" fmla="*/ 0 h 41713"/>
                    <a:gd name="connsiteX1" fmla="*/ 145933 w 145933"/>
                    <a:gd name="connsiteY1" fmla="*/ 0 h 41713"/>
                    <a:gd name="connsiteX2" fmla="*/ 145933 w 145933"/>
                    <a:gd name="connsiteY2" fmla="*/ 41713 h 41713"/>
                    <a:gd name="connsiteX3" fmla="*/ 0 w 145933"/>
                    <a:gd name="connsiteY3" fmla="*/ 41713 h 41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45933" h="41713">
                      <a:moveTo>
                        <a:pt x="0" y="0"/>
                      </a:moveTo>
                      <a:lnTo>
                        <a:pt x="145933" y="0"/>
                      </a:lnTo>
                      <a:lnTo>
                        <a:pt x="145933" y="41713"/>
                      </a:lnTo>
                      <a:lnTo>
                        <a:pt x="0" y="4171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1" name="Полилиния: фигура 90">
                  <a:extLst>
                    <a:ext uri="{FF2B5EF4-FFF2-40B4-BE49-F238E27FC236}">
                      <a16:creationId xmlns:a16="http://schemas.microsoft.com/office/drawing/2014/main" id="{55C165C4-F1AC-4E1F-AC6A-8A0C422B2783}"/>
                    </a:ext>
                  </a:extLst>
                </p:cNvPr>
                <p:cNvSpPr/>
                <p:nvPr/>
              </p:nvSpPr>
              <p:spPr>
                <a:xfrm>
                  <a:off x="9219264" y="4023648"/>
                  <a:ext cx="92640" cy="57900"/>
                </a:xfrm>
                <a:custGeom>
                  <a:avLst/>
                  <a:gdLst>
                    <a:gd name="connsiteX0" fmla="*/ 0 w 92640"/>
                    <a:gd name="connsiteY0" fmla="*/ 0 h 57900"/>
                    <a:gd name="connsiteX1" fmla="*/ 92640 w 92640"/>
                    <a:gd name="connsiteY1" fmla="*/ 0 h 57900"/>
                    <a:gd name="connsiteX2" fmla="*/ 92640 w 92640"/>
                    <a:gd name="connsiteY2" fmla="*/ 57900 h 57900"/>
                    <a:gd name="connsiteX3" fmla="*/ 0 w 92640"/>
                    <a:gd name="connsiteY3" fmla="*/ 57900 h 57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92640" h="57900">
                      <a:moveTo>
                        <a:pt x="0" y="0"/>
                      </a:moveTo>
                      <a:lnTo>
                        <a:pt x="92640" y="0"/>
                      </a:lnTo>
                      <a:lnTo>
                        <a:pt x="92640" y="57900"/>
                      </a:lnTo>
                      <a:lnTo>
                        <a:pt x="0" y="57900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2" name="Полилиния: фигура 91">
                  <a:extLst>
                    <a:ext uri="{FF2B5EF4-FFF2-40B4-BE49-F238E27FC236}">
                      <a16:creationId xmlns:a16="http://schemas.microsoft.com/office/drawing/2014/main" id="{D5916970-D0A0-40A4-80D0-0BC0846E172C}"/>
                    </a:ext>
                  </a:extLst>
                </p:cNvPr>
                <p:cNvSpPr/>
                <p:nvPr/>
              </p:nvSpPr>
              <p:spPr>
                <a:xfrm>
                  <a:off x="9297959" y="4109315"/>
                  <a:ext cx="32374" cy="78694"/>
                </a:xfrm>
                <a:custGeom>
                  <a:avLst/>
                  <a:gdLst>
                    <a:gd name="connsiteX0" fmla="*/ 0 w 32374"/>
                    <a:gd name="connsiteY0" fmla="*/ 0 h 78694"/>
                    <a:gd name="connsiteX1" fmla="*/ 32374 w 32374"/>
                    <a:gd name="connsiteY1" fmla="*/ 0 h 78694"/>
                    <a:gd name="connsiteX2" fmla="*/ 32374 w 32374"/>
                    <a:gd name="connsiteY2" fmla="*/ 78695 h 78694"/>
                    <a:gd name="connsiteX3" fmla="*/ 0 w 32374"/>
                    <a:gd name="connsiteY3" fmla="*/ 78695 h 7869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2374" h="78694">
                      <a:moveTo>
                        <a:pt x="0" y="0"/>
                      </a:moveTo>
                      <a:lnTo>
                        <a:pt x="32374" y="0"/>
                      </a:lnTo>
                      <a:lnTo>
                        <a:pt x="32374" y="78695"/>
                      </a:lnTo>
                      <a:lnTo>
                        <a:pt x="0" y="78695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3" name="Полилиния: фигура 92">
                  <a:extLst>
                    <a:ext uri="{FF2B5EF4-FFF2-40B4-BE49-F238E27FC236}">
                      <a16:creationId xmlns:a16="http://schemas.microsoft.com/office/drawing/2014/main" id="{30891318-CB6C-4FE2-B3A6-425933A6697A}"/>
                    </a:ext>
                  </a:extLst>
                </p:cNvPr>
                <p:cNvSpPr/>
                <p:nvPr/>
              </p:nvSpPr>
              <p:spPr>
                <a:xfrm>
                  <a:off x="9191497" y="4218143"/>
                  <a:ext cx="108827" cy="25525"/>
                </a:xfrm>
                <a:custGeom>
                  <a:avLst/>
                  <a:gdLst>
                    <a:gd name="connsiteX0" fmla="*/ 0 w 108827"/>
                    <a:gd name="connsiteY0" fmla="*/ 0 h 25525"/>
                    <a:gd name="connsiteX1" fmla="*/ 108828 w 108827"/>
                    <a:gd name="connsiteY1" fmla="*/ 0 h 25525"/>
                    <a:gd name="connsiteX2" fmla="*/ 108828 w 108827"/>
                    <a:gd name="connsiteY2" fmla="*/ 25526 h 25525"/>
                    <a:gd name="connsiteX3" fmla="*/ 0 w 108827"/>
                    <a:gd name="connsiteY3" fmla="*/ 25526 h 2552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108827" h="25525">
                      <a:moveTo>
                        <a:pt x="0" y="0"/>
                      </a:moveTo>
                      <a:lnTo>
                        <a:pt x="108828" y="0"/>
                      </a:lnTo>
                      <a:lnTo>
                        <a:pt x="108828" y="25526"/>
                      </a:lnTo>
                      <a:lnTo>
                        <a:pt x="0" y="2552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4" name="Полилиния: фигура 93">
                  <a:extLst>
                    <a:ext uri="{FF2B5EF4-FFF2-40B4-BE49-F238E27FC236}">
                      <a16:creationId xmlns:a16="http://schemas.microsoft.com/office/drawing/2014/main" id="{D40BF6AE-5425-4E8A-9808-73695D832F1B}"/>
                    </a:ext>
                  </a:extLst>
                </p:cNvPr>
                <p:cNvSpPr/>
                <p:nvPr/>
              </p:nvSpPr>
              <p:spPr>
                <a:xfrm>
                  <a:off x="9133597" y="4222874"/>
                  <a:ext cx="39347" cy="157513"/>
                </a:xfrm>
                <a:custGeom>
                  <a:avLst/>
                  <a:gdLst>
                    <a:gd name="connsiteX0" fmla="*/ 0 w 39347"/>
                    <a:gd name="connsiteY0" fmla="*/ 0 h 157513"/>
                    <a:gd name="connsiteX1" fmla="*/ 39347 w 39347"/>
                    <a:gd name="connsiteY1" fmla="*/ 0 h 157513"/>
                    <a:gd name="connsiteX2" fmla="*/ 39347 w 39347"/>
                    <a:gd name="connsiteY2" fmla="*/ 157513 h 157513"/>
                    <a:gd name="connsiteX3" fmla="*/ 0 w 39347"/>
                    <a:gd name="connsiteY3" fmla="*/ 157513 h 1575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47" h="157513">
                      <a:moveTo>
                        <a:pt x="0" y="0"/>
                      </a:moveTo>
                      <a:lnTo>
                        <a:pt x="39347" y="0"/>
                      </a:lnTo>
                      <a:lnTo>
                        <a:pt x="39347" y="157513"/>
                      </a:lnTo>
                      <a:lnTo>
                        <a:pt x="0" y="15751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5" name="Полилиния: фигура 94">
                  <a:extLst>
                    <a:ext uri="{FF2B5EF4-FFF2-40B4-BE49-F238E27FC236}">
                      <a16:creationId xmlns:a16="http://schemas.microsoft.com/office/drawing/2014/main" id="{726D962D-10C4-4EE5-8216-5E027FA0F0FF}"/>
                    </a:ext>
                  </a:extLst>
                </p:cNvPr>
                <p:cNvSpPr/>
                <p:nvPr/>
              </p:nvSpPr>
              <p:spPr>
                <a:xfrm>
                  <a:off x="9212291" y="4296962"/>
                  <a:ext cx="71846" cy="62507"/>
                </a:xfrm>
                <a:custGeom>
                  <a:avLst/>
                  <a:gdLst>
                    <a:gd name="connsiteX0" fmla="*/ 0 w 71846"/>
                    <a:gd name="connsiteY0" fmla="*/ 0 h 62507"/>
                    <a:gd name="connsiteX1" fmla="*/ 71846 w 71846"/>
                    <a:gd name="connsiteY1" fmla="*/ 0 h 62507"/>
                    <a:gd name="connsiteX2" fmla="*/ 71846 w 71846"/>
                    <a:gd name="connsiteY2" fmla="*/ 62507 h 62507"/>
                    <a:gd name="connsiteX3" fmla="*/ 0 w 71846"/>
                    <a:gd name="connsiteY3" fmla="*/ 62507 h 6250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71846" h="62507">
                      <a:moveTo>
                        <a:pt x="0" y="0"/>
                      </a:moveTo>
                      <a:lnTo>
                        <a:pt x="71846" y="0"/>
                      </a:lnTo>
                      <a:lnTo>
                        <a:pt x="71846" y="62507"/>
                      </a:lnTo>
                      <a:lnTo>
                        <a:pt x="0" y="6250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6" name="Полилиния: фигура 95">
                  <a:extLst>
                    <a:ext uri="{FF2B5EF4-FFF2-40B4-BE49-F238E27FC236}">
                      <a16:creationId xmlns:a16="http://schemas.microsoft.com/office/drawing/2014/main" id="{9075D931-46D6-4223-A2BD-8E933E0E42E0}"/>
                    </a:ext>
                  </a:extLst>
                </p:cNvPr>
                <p:cNvSpPr/>
                <p:nvPr/>
              </p:nvSpPr>
              <p:spPr>
                <a:xfrm>
                  <a:off x="9184524" y="4401182"/>
                  <a:ext cx="39347" cy="39347"/>
                </a:xfrm>
                <a:custGeom>
                  <a:avLst/>
                  <a:gdLst>
                    <a:gd name="connsiteX0" fmla="*/ 0 w 39347"/>
                    <a:gd name="connsiteY0" fmla="*/ 0 h 39347"/>
                    <a:gd name="connsiteX1" fmla="*/ 39347 w 39347"/>
                    <a:gd name="connsiteY1" fmla="*/ 0 h 39347"/>
                    <a:gd name="connsiteX2" fmla="*/ 39347 w 39347"/>
                    <a:gd name="connsiteY2" fmla="*/ 39347 h 39347"/>
                    <a:gd name="connsiteX3" fmla="*/ 0 w 39347"/>
                    <a:gd name="connsiteY3" fmla="*/ 39347 h 39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47" h="39347">
                      <a:moveTo>
                        <a:pt x="0" y="0"/>
                      </a:moveTo>
                      <a:lnTo>
                        <a:pt x="39347" y="0"/>
                      </a:lnTo>
                      <a:lnTo>
                        <a:pt x="39347" y="39347"/>
                      </a:lnTo>
                      <a:lnTo>
                        <a:pt x="0" y="3934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7" name="Полилиния: фигура 96">
                  <a:extLst>
                    <a:ext uri="{FF2B5EF4-FFF2-40B4-BE49-F238E27FC236}">
                      <a16:creationId xmlns:a16="http://schemas.microsoft.com/office/drawing/2014/main" id="{4077BCED-1CC9-4C79-A477-8F07745EFAA4}"/>
                    </a:ext>
                  </a:extLst>
                </p:cNvPr>
                <p:cNvSpPr/>
                <p:nvPr/>
              </p:nvSpPr>
              <p:spPr>
                <a:xfrm>
                  <a:off x="9082669" y="4401182"/>
                  <a:ext cx="39347" cy="39347"/>
                </a:xfrm>
                <a:custGeom>
                  <a:avLst/>
                  <a:gdLst>
                    <a:gd name="connsiteX0" fmla="*/ 0 w 39347"/>
                    <a:gd name="connsiteY0" fmla="*/ 0 h 39347"/>
                    <a:gd name="connsiteX1" fmla="*/ 39347 w 39347"/>
                    <a:gd name="connsiteY1" fmla="*/ 0 h 39347"/>
                    <a:gd name="connsiteX2" fmla="*/ 39347 w 39347"/>
                    <a:gd name="connsiteY2" fmla="*/ 39347 h 39347"/>
                    <a:gd name="connsiteX3" fmla="*/ 0 w 39347"/>
                    <a:gd name="connsiteY3" fmla="*/ 39347 h 39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47" h="39347">
                      <a:moveTo>
                        <a:pt x="0" y="0"/>
                      </a:moveTo>
                      <a:lnTo>
                        <a:pt x="39347" y="0"/>
                      </a:lnTo>
                      <a:lnTo>
                        <a:pt x="39347" y="39347"/>
                      </a:lnTo>
                      <a:lnTo>
                        <a:pt x="0" y="3934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8" name="Полилиния: фигура 97">
                  <a:extLst>
                    <a:ext uri="{FF2B5EF4-FFF2-40B4-BE49-F238E27FC236}">
                      <a16:creationId xmlns:a16="http://schemas.microsoft.com/office/drawing/2014/main" id="{52682C54-164B-4360-A5B1-041690BA0763}"/>
                    </a:ext>
                  </a:extLst>
                </p:cNvPr>
                <p:cNvSpPr/>
                <p:nvPr/>
              </p:nvSpPr>
              <p:spPr>
                <a:xfrm>
                  <a:off x="9079806" y="4495441"/>
                  <a:ext cx="39347" cy="39347"/>
                </a:xfrm>
                <a:custGeom>
                  <a:avLst/>
                  <a:gdLst>
                    <a:gd name="connsiteX0" fmla="*/ 0 w 39347"/>
                    <a:gd name="connsiteY0" fmla="*/ 0 h 39347"/>
                    <a:gd name="connsiteX1" fmla="*/ 39347 w 39347"/>
                    <a:gd name="connsiteY1" fmla="*/ 0 h 39347"/>
                    <a:gd name="connsiteX2" fmla="*/ 39347 w 39347"/>
                    <a:gd name="connsiteY2" fmla="*/ 39347 h 39347"/>
                    <a:gd name="connsiteX3" fmla="*/ 0 w 39347"/>
                    <a:gd name="connsiteY3" fmla="*/ 39347 h 3934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39347" h="39347">
                      <a:moveTo>
                        <a:pt x="0" y="0"/>
                      </a:moveTo>
                      <a:lnTo>
                        <a:pt x="39347" y="0"/>
                      </a:lnTo>
                      <a:lnTo>
                        <a:pt x="39347" y="39347"/>
                      </a:lnTo>
                      <a:lnTo>
                        <a:pt x="0" y="3934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99" name="Полилиния: фигура 98">
                  <a:extLst>
                    <a:ext uri="{FF2B5EF4-FFF2-40B4-BE49-F238E27FC236}">
                      <a16:creationId xmlns:a16="http://schemas.microsoft.com/office/drawing/2014/main" id="{752456B6-E9EE-4268-94E4-DD6E1611AF0C}"/>
                    </a:ext>
                  </a:extLst>
                </p:cNvPr>
                <p:cNvSpPr/>
                <p:nvPr/>
              </p:nvSpPr>
              <p:spPr>
                <a:xfrm>
                  <a:off x="9350629" y="3945202"/>
                  <a:ext cx="41713" cy="41713"/>
                </a:xfrm>
                <a:custGeom>
                  <a:avLst/>
                  <a:gdLst>
                    <a:gd name="connsiteX0" fmla="*/ 0 w 41713"/>
                    <a:gd name="connsiteY0" fmla="*/ 0 h 41713"/>
                    <a:gd name="connsiteX1" fmla="*/ 41713 w 41713"/>
                    <a:gd name="connsiteY1" fmla="*/ 0 h 41713"/>
                    <a:gd name="connsiteX2" fmla="*/ 41713 w 41713"/>
                    <a:gd name="connsiteY2" fmla="*/ 41713 h 41713"/>
                    <a:gd name="connsiteX3" fmla="*/ 0 w 41713"/>
                    <a:gd name="connsiteY3" fmla="*/ 41713 h 4171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13" h="41713">
                      <a:moveTo>
                        <a:pt x="0" y="0"/>
                      </a:moveTo>
                      <a:lnTo>
                        <a:pt x="41713" y="0"/>
                      </a:lnTo>
                      <a:lnTo>
                        <a:pt x="41713" y="41713"/>
                      </a:lnTo>
                      <a:lnTo>
                        <a:pt x="0" y="41713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0" name="Полилиния: фигура 99">
                  <a:extLst>
                    <a:ext uri="{FF2B5EF4-FFF2-40B4-BE49-F238E27FC236}">
                      <a16:creationId xmlns:a16="http://schemas.microsoft.com/office/drawing/2014/main" id="{4DF0E117-C1B6-4EEE-8E49-C61D9B8BD1A4}"/>
                    </a:ext>
                  </a:extLst>
                </p:cNvPr>
                <p:cNvSpPr/>
                <p:nvPr/>
              </p:nvSpPr>
              <p:spPr>
                <a:xfrm>
                  <a:off x="8800266" y="3917186"/>
                  <a:ext cx="41713" cy="50927"/>
                </a:xfrm>
                <a:custGeom>
                  <a:avLst/>
                  <a:gdLst>
                    <a:gd name="connsiteX0" fmla="*/ 0 w 41713"/>
                    <a:gd name="connsiteY0" fmla="*/ 0 h 50927"/>
                    <a:gd name="connsiteX1" fmla="*/ 41713 w 41713"/>
                    <a:gd name="connsiteY1" fmla="*/ 0 h 50927"/>
                    <a:gd name="connsiteX2" fmla="*/ 41713 w 41713"/>
                    <a:gd name="connsiteY2" fmla="*/ 50927 h 50927"/>
                    <a:gd name="connsiteX3" fmla="*/ 0 w 41713"/>
                    <a:gd name="connsiteY3" fmla="*/ 50927 h 5092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41713" h="50927">
                      <a:moveTo>
                        <a:pt x="0" y="0"/>
                      </a:moveTo>
                      <a:lnTo>
                        <a:pt x="41713" y="0"/>
                      </a:lnTo>
                      <a:lnTo>
                        <a:pt x="41713" y="50927"/>
                      </a:lnTo>
                      <a:lnTo>
                        <a:pt x="0" y="50927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  <p:sp>
              <p:nvSpPr>
                <p:cNvPr id="101" name="Полилиния: фигура 100">
                  <a:extLst>
                    <a:ext uri="{FF2B5EF4-FFF2-40B4-BE49-F238E27FC236}">
                      <a16:creationId xmlns:a16="http://schemas.microsoft.com/office/drawing/2014/main" id="{547DEA15-EEA3-43CF-921A-AF68D007CA22}"/>
                    </a:ext>
                  </a:extLst>
                </p:cNvPr>
                <p:cNvSpPr/>
                <p:nvPr/>
              </p:nvSpPr>
              <p:spPr>
                <a:xfrm>
                  <a:off x="9008707" y="4333943"/>
                  <a:ext cx="25525" cy="37105"/>
                </a:xfrm>
                <a:custGeom>
                  <a:avLst/>
                  <a:gdLst>
                    <a:gd name="connsiteX0" fmla="*/ 0 w 25525"/>
                    <a:gd name="connsiteY0" fmla="*/ 0 h 37105"/>
                    <a:gd name="connsiteX1" fmla="*/ 25526 w 25525"/>
                    <a:gd name="connsiteY1" fmla="*/ 0 h 37105"/>
                    <a:gd name="connsiteX2" fmla="*/ 25526 w 25525"/>
                    <a:gd name="connsiteY2" fmla="*/ 37106 h 37105"/>
                    <a:gd name="connsiteX3" fmla="*/ 0 w 25525"/>
                    <a:gd name="connsiteY3" fmla="*/ 37106 h 371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</a:cxnLst>
                  <a:rect l="l" t="t" r="r" b="b"/>
                  <a:pathLst>
                    <a:path w="25525" h="37105">
                      <a:moveTo>
                        <a:pt x="0" y="0"/>
                      </a:moveTo>
                      <a:lnTo>
                        <a:pt x="25526" y="0"/>
                      </a:lnTo>
                      <a:lnTo>
                        <a:pt x="25526" y="37106"/>
                      </a:lnTo>
                      <a:lnTo>
                        <a:pt x="0" y="37106"/>
                      </a:lnTo>
                      <a:close/>
                    </a:path>
                  </a:pathLst>
                </a:custGeom>
                <a:solidFill>
                  <a:srgbClr val="263238"/>
                </a:solidFill>
                <a:ln w="12430" cap="rnd">
                  <a:solidFill>
                    <a:srgbClr val="263238"/>
                  </a:solidFill>
                  <a:prstDash val="solid"/>
                  <a:round/>
                </a:ln>
              </p:spPr>
              <p:txBody>
                <a:bodyPr rtlCol="0" anchor="ctr"/>
                <a:lstStyle/>
                <a:p>
                  <a:endParaRPr lang="ru-RU"/>
                </a:p>
              </p:txBody>
            </p:sp>
          </p:grpSp>
          <p:sp>
            <p:nvSpPr>
              <p:cNvPr id="66" name="Полилиния: фигура 65">
                <a:extLst>
                  <a:ext uri="{FF2B5EF4-FFF2-40B4-BE49-F238E27FC236}">
                    <a16:creationId xmlns:a16="http://schemas.microsoft.com/office/drawing/2014/main" id="{CA5A6D94-5B01-4C5E-940C-2B92C99B7668}"/>
                  </a:ext>
                </a:extLst>
              </p:cNvPr>
              <p:cNvSpPr/>
              <p:nvPr/>
            </p:nvSpPr>
            <p:spPr>
              <a:xfrm>
                <a:off x="9077315" y="2306688"/>
                <a:ext cx="122897" cy="274185"/>
              </a:xfrm>
              <a:custGeom>
                <a:avLst/>
                <a:gdLst>
                  <a:gd name="connsiteX0" fmla="*/ 0 w 122897"/>
                  <a:gd name="connsiteY0" fmla="*/ 0 h 274185"/>
                  <a:gd name="connsiteX1" fmla="*/ 122898 w 122897"/>
                  <a:gd name="connsiteY1" fmla="*/ 0 h 274185"/>
                  <a:gd name="connsiteX2" fmla="*/ 122898 w 122897"/>
                  <a:gd name="connsiteY2" fmla="*/ 274186 h 274185"/>
                  <a:gd name="connsiteX3" fmla="*/ 0 w 122897"/>
                  <a:gd name="connsiteY3" fmla="*/ 274186 h 2741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22897" h="274185">
                    <a:moveTo>
                      <a:pt x="0" y="0"/>
                    </a:moveTo>
                    <a:lnTo>
                      <a:pt x="122898" y="0"/>
                    </a:lnTo>
                    <a:lnTo>
                      <a:pt x="122898" y="274186"/>
                    </a:lnTo>
                    <a:lnTo>
                      <a:pt x="0" y="274186"/>
                    </a:lnTo>
                    <a:close/>
                  </a:path>
                </a:pathLst>
              </a:custGeom>
              <a:solidFill>
                <a:srgbClr val="FFFFFF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  <p:sp>
            <p:nvSpPr>
              <p:cNvPr id="67" name="Полилиния: фигура 66">
                <a:extLst>
                  <a:ext uri="{FF2B5EF4-FFF2-40B4-BE49-F238E27FC236}">
                    <a16:creationId xmlns:a16="http://schemas.microsoft.com/office/drawing/2014/main" id="{A5E0B07E-50BA-408C-AFE9-33117F788CEC}"/>
                  </a:ext>
                </a:extLst>
              </p:cNvPr>
              <p:cNvSpPr/>
              <p:nvPr/>
            </p:nvSpPr>
            <p:spPr>
              <a:xfrm>
                <a:off x="9300823" y="1748729"/>
                <a:ext cx="132485" cy="132485"/>
              </a:xfrm>
              <a:custGeom>
                <a:avLst/>
                <a:gdLst>
                  <a:gd name="connsiteX0" fmla="*/ 132486 w 132485"/>
                  <a:gd name="connsiteY0" fmla="*/ 66243 h 132485"/>
                  <a:gd name="connsiteX1" fmla="*/ 66243 w 132485"/>
                  <a:gd name="connsiteY1" fmla="*/ 0 h 132485"/>
                  <a:gd name="connsiteX2" fmla="*/ 0 w 132485"/>
                  <a:gd name="connsiteY2" fmla="*/ 66243 h 132485"/>
                  <a:gd name="connsiteX3" fmla="*/ 66243 w 132485"/>
                  <a:gd name="connsiteY3" fmla="*/ 132486 h 132485"/>
                  <a:gd name="connsiteX4" fmla="*/ 132486 w 132485"/>
                  <a:gd name="connsiteY4" fmla="*/ 66243 h 1324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32485" h="132485">
                    <a:moveTo>
                      <a:pt x="132486" y="66243"/>
                    </a:moveTo>
                    <a:cubicBezTo>
                      <a:pt x="132486" y="29635"/>
                      <a:pt x="102851" y="0"/>
                      <a:pt x="66243" y="0"/>
                    </a:cubicBezTo>
                    <a:cubicBezTo>
                      <a:pt x="29635" y="0"/>
                      <a:pt x="0" y="29635"/>
                      <a:pt x="0" y="66243"/>
                    </a:cubicBezTo>
                    <a:cubicBezTo>
                      <a:pt x="0" y="102851"/>
                      <a:pt x="29635" y="132486"/>
                      <a:pt x="66243" y="132486"/>
                    </a:cubicBezTo>
                    <a:cubicBezTo>
                      <a:pt x="102851" y="132486"/>
                      <a:pt x="132486" y="102851"/>
                      <a:pt x="132486" y="66243"/>
                    </a:cubicBezTo>
                    <a:close/>
                  </a:path>
                </a:pathLst>
              </a:custGeom>
              <a:solidFill>
                <a:srgbClr val="FFFFFF"/>
              </a:solidFill>
              <a:ln w="12430" cap="rnd">
                <a:solidFill>
                  <a:srgbClr val="263238"/>
                </a:solidFill>
                <a:prstDash val="solid"/>
                <a:round/>
              </a:ln>
            </p:spPr>
            <p:txBody>
              <a:bodyPr rtlCol="0" anchor="ctr"/>
              <a:lstStyle/>
              <a:p>
                <a:endParaRPr lang="ru-RU"/>
              </a:p>
            </p:txBody>
          </p:sp>
        </p:grpSp>
        <p:sp>
          <p:nvSpPr>
            <p:cNvPr id="56" name="Motion design">
              <a:extLst>
                <a:ext uri="{FF2B5EF4-FFF2-40B4-BE49-F238E27FC236}">
                  <a16:creationId xmlns:a16="http://schemas.microsoft.com/office/drawing/2014/main" id="{EA230E89-2272-4227-8FD9-EB7E1556C823}"/>
                </a:ext>
              </a:extLst>
            </p:cNvPr>
            <p:cNvSpPr txBox="1"/>
            <p:nvPr/>
          </p:nvSpPr>
          <p:spPr>
            <a:xfrm>
              <a:off x="9029737" y="1667886"/>
              <a:ext cx="371248" cy="291362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defTabSz="309563" hangingPunct="0">
                <a:buClrTx/>
                <a:defRPr/>
              </a:pPr>
              <a:r>
                <a:rPr lang="en-US" sz="1600" dirty="0">
                  <a:solidFill>
                    <a:schemeClr val="bg1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CDI     </a:t>
              </a:r>
              <a:endParaRPr lang="ru-RU" sz="160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5227109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path" presetSubtype="0" repeatCount="indefinite" accel="50000" decel="50000" autoRev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33333E-6 -4.81481E-6 L 3.33333E-6 -0.01782 " pathEditMode="relative" rAng="0" ptsTypes="AA">
                                      <p:cBhvr>
                                        <p:cTn id="6" dur="75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903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13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25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42" presetClass="path" presetSubtype="0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1719 -0.00023 L -1.25E-6 1.85185E-6 " pathEditMode="relative" rAng="0" ptsTypes="AA">
                                      <p:cBhvr>
                                        <p:cTn id="20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859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Рисунок 47">
            <a:extLst>
              <a:ext uri="{FF2B5EF4-FFF2-40B4-BE49-F238E27FC236}">
                <a16:creationId xmlns:a16="http://schemas.microsoft.com/office/drawing/2014/main" id="{E108EAE3-BF16-4D7B-BD5C-8E8B88B994ED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grpSp>
        <p:nvGrpSpPr>
          <p:cNvPr id="24" name="Рисунок 2">
            <a:extLst>
              <a:ext uri="{FF2B5EF4-FFF2-40B4-BE49-F238E27FC236}">
                <a16:creationId xmlns:a16="http://schemas.microsoft.com/office/drawing/2014/main" id="{E1C817BB-5F9F-49D5-A3F4-E4E809796E50}"/>
              </a:ext>
            </a:extLst>
          </p:cNvPr>
          <p:cNvGrpSpPr/>
          <p:nvPr/>
        </p:nvGrpSpPr>
        <p:grpSpPr>
          <a:xfrm>
            <a:off x="823295" y="845375"/>
            <a:ext cx="1488859" cy="256659"/>
            <a:chOff x="1447975" y="1300681"/>
            <a:chExt cx="3559515" cy="613613"/>
          </a:xfrm>
          <a:solidFill>
            <a:schemeClr val="bg1"/>
          </a:solidFill>
        </p:grpSpPr>
        <p:sp>
          <p:nvSpPr>
            <p:cNvPr id="25" name="Полилиния: фигура 24">
              <a:extLst>
                <a:ext uri="{FF2B5EF4-FFF2-40B4-BE49-F238E27FC236}">
                  <a16:creationId xmlns:a16="http://schemas.microsoft.com/office/drawing/2014/main" id="{24305933-DC93-423F-ABA7-E814A07D882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6" name="Полилиния: фигура 25">
              <a:extLst>
                <a:ext uri="{FF2B5EF4-FFF2-40B4-BE49-F238E27FC236}">
                  <a16:creationId xmlns:a16="http://schemas.microsoft.com/office/drawing/2014/main" id="{BC0EE0CB-835A-4C55-AF54-8507A76F869F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7" name="Полилиния: фигура 26">
              <a:extLst>
                <a:ext uri="{FF2B5EF4-FFF2-40B4-BE49-F238E27FC236}">
                  <a16:creationId xmlns:a16="http://schemas.microsoft.com/office/drawing/2014/main" id="{D8CE3834-88FC-4B55-A516-DF3C7FDF6E12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  <p:sp>
          <p:nvSpPr>
            <p:cNvPr id="28" name="Полилиния: фигура 27">
              <a:extLst>
                <a:ext uri="{FF2B5EF4-FFF2-40B4-BE49-F238E27FC236}">
                  <a16:creationId xmlns:a16="http://schemas.microsoft.com/office/drawing/2014/main" id="{A75A1CDD-D8CA-4201-8D13-26AC224E7C50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>
                <a:latin typeface="Akrobat" panose="00000600000000000000" pitchFamily="50" charset="-52"/>
              </a:endParaRPr>
            </a:p>
          </p:txBody>
        </p:sp>
      </p:grpSp>
      <p:grpSp>
        <p:nvGrpSpPr>
          <p:cNvPr id="33" name="CDIConf_Black">
            <a:extLst>
              <a:ext uri="{FF2B5EF4-FFF2-40B4-BE49-F238E27FC236}">
                <a16:creationId xmlns:a16="http://schemas.microsoft.com/office/drawing/2014/main" id="{5B7DF3E0-0FA5-431A-BA80-05FB67A9FEC9}"/>
              </a:ext>
            </a:extLst>
          </p:cNvPr>
          <p:cNvGrpSpPr/>
          <p:nvPr/>
        </p:nvGrpSpPr>
        <p:grpSpPr>
          <a:xfrm>
            <a:off x="823295" y="1348066"/>
            <a:ext cx="2651425" cy="345863"/>
            <a:chOff x="7406975" y="5855999"/>
            <a:chExt cx="2270483" cy="296171"/>
          </a:xfrm>
        </p:grpSpPr>
        <p:sp>
          <p:nvSpPr>
            <p:cNvPr id="34" name="Полилиния: фигура 33">
              <a:extLst>
                <a:ext uri="{FF2B5EF4-FFF2-40B4-BE49-F238E27FC236}">
                  <a16:creationId xmlns:a16="http://schemas.microsoft.com/office/drawing/2014/main" id="{B8A1F4DF-D29F-4E22-8CA3-A0BE77E047CD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5" name="Полилиния: фигура 34">
              <a:extLst>
                <a:ext uri="{FF2B5EF4-FFF2-40B4-BE49-F238E27FC236}">
                  <a16:creationId xmlns:a16="http://schemas.microsoft.com/office/drawing/2014/main" id="{5713B08D-F3B3-4CA3-A54A-7F87BDFCFCBF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6" name="Полилиния: фигура 35">
              <a:extLst>
                <a:ext uri="{FF2B5EF4-FFF2-40B4-BE49-F238E27FC236}">
                  <a16:creationId xmlns:a16="http://schemas.microsoft.com/office/drawing/2014/main" id="{ED3297AE-6AEE-4146-9966-86EFA70DEC57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/>
            </a:p>
          </p:txBody>
        </p:sp>
        <p:sp>
          <p:nvSpPr>
            <p:cNvPr id="37" name="Полилиния: фигура 36">
              <a:extLst>
                <a:ext uri="{FF2B5EF4-FFF2-40B4-BE49-F238E27FC236}">
                  <a16:creationId xmlns:a16="http://schemas.microsoft.com/office/drawing/2014/main" id="{E5E3243E-660B-4278-B254-1B426FFB8DEC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bg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ru-RU" dirty="0"/>
            </a:p>
          </p:txBody>
        </p:sp>
      </p:grpSp>
      <p:sp>
        <p:nvSpPr>
          <p:cNvPr id="47" name="Заголовок">
            <a:extLst>
              <a:ext uri="{FF2B5EF4-FFF2-40B4-BE49-F238E27FC236}">
                <a16:creationId xmlns:a16="http://schemas.microsoft.com/office/drawing/2014/main" id="{0C336591-A4C1-4C08-BEFA-A6FBA99C517D}"/>
              </a:ext>
            </a:extLst>
          </p:cNvPr>
          <p:cNvSpPr txBox="1"/>
          <p:nvPr/>
        </p:nvSpPr>
        <p:spPr>
          <a:xfrm>
            <a:off x="743953" y="2261017"/>
            <a:ext cx="5677024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4800" b="1" dirty="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Работаем с вами.</a:t>
            </a:r>
          </a:p>
          <a:p>
            <a:r>
              <a:rPr lang="ru-RU" sz="4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Для вас.</a:t>
            </a:r>
          </a:p>
          <a:p>
            <a:r>
              <a:rPr lang="ru-RU" sz="4800" b="1" dirty="0">
                <a:solidFill>
                  <a:schemeClr val="bg1"/>
                </a:solidFill>
                <a:latin typeface="Roboto" pitchFamily="2" charset="0"/>
                <a:ea typeface="Roboto" pitchFamily="2" charset="0"/>
              </a:rPr>
              <a:t>И ваших клиентов.</a:t>
            </a:r>
          </a:p>
        </p:txBody>
      </p: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E8C6275F-CE4E-4FEE-8084-98766C6B8A9F}"/>
              </a:ext>
            </a:extLst>
          </p:cNvPr>
          <p:cNvGrpSpPr/>
          <p:nvPr/>
        </p:nvGrpSpPr>
        <p:grpSpPr>
          <a:xfrm>
            <a:off x="823295" y="5262594"/>
            <a:ext cx="3397338" cy="762000"/>
            <a:chOff x="1217541" y="5509934"/>
            <a:chExt cx="3397338" cy="762000"/>
          </a:xfrm>
        </p:grpSpPr>
        <p:grpSp>
          <p:nvGrpSpPr>
            <p:cNvPr id="107" name="Группа 106">
              <a:extLst>
                <a:ext uri="{FF2B5EF4-FFF2-40B4-BE49-F238E27FC236}">
                  <a16:creationId xmlns:a16="http://schemas.microsoft.com/office/drawing/2014/main" id="{050FFE84-965F-4638-A5ED-0E0147DD07FD}"/>
                </a:ext>
              </a:extLst>
            </p:cNvPr>
            <p:cNvGrpSpPr/>
            <p:nvPr/>
          </p:nvGrpSpPr>
          <p:grpSpPr>
            <a:xfrm>
              <a:off x="1217541" y="5509934"/>
              <a:ext cx="3397338" cy="762000"/>
              <a:chOff x="478199" y="1484302"/>
              <a:chExt cx="3397338" cy="762000"/>
            </a:xfrm>
          </p:grpSpPr>
          <p:sp>
            <p:nvSpPr>
              <p:cNvPr id="109" name="Rounded Rectangle">
                <a:extLst>
                  <a:ext uri="{FF2B5EF4-FFF2-40B4-BE49-F238E27FC236}">
                    <a16:creationId xmlns:a16="http://schemas.microsoft.com/office/drawing/2014/main" id="{28AD7248-AA2F-43C1-91FD-B68A31294B83}"/>
                  </a:ext>
                </a:extLst>
              </p:cNvPr>
              <p:cNvSpPr/>
              <p:nvPr/>
            </p:nvSpPr>
            <p:spPr>
              <a:xfrm>
                <a:off x="478199" y="1484302"/>
                <a:ext cx="3397338" cy="762000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/>
                <a:endParaRPr sz="1200" dirty="0">
                  <a:solidFill>
                    <a:srgbClr val="FFFFFF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0" name="Market analysis">
                <a:extLst>
                  <a:ext uri="{FF2B5EF4-FFF2-40B4-BE49-F238E27FC236}">
                    <a16:creationId xmlns:a16="http://schemas.microsoft.com/office/drawing/2014/main" id="{D0BB56DE-C2CF-4825-B39C-74590FE6DEE5}"/>
                  </a:ext>
                </a:extLst>
              </p:cNvPr>
              <p:cNvSpPr txBox="1"/>
              <p:nvPr/>
            </p:nvSpPr>
            <p:spPr>
              <a:xfrm>
                <a:off x="1305921" y="1649026"/>
                <a:ext cx="1931448" cy="21852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buClrTx/>
                  <a:defRPr/>
                </a:pPr>
                <a:r>
                  <a:rPr lang="ru-RU" sz="1200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SemiBold"/>
                  </a:rPr>
                  <a:t>Павел Абдюшев</a:t>
                </a:r>
              </a:p>
            </p:txBody>
          </p:sp>
          <p:sp>
            <p:nvSpPr>
              <p:cNvPr id="111" name="Market analysis">
                <a:extLst>
                  <a:ext uri="{FF2B5EF4-FFF2-40B4-BE49-F238E27FC236}">
                    <a16:creationId xmlns:a16="http://schemas.microsoft.com/office/drawing/2014/main" id="{0255CFF7-FF20-4AEA-A6EA-474C510655AA}"/>
                  </a:ext>
                </a:extLst>
              </p:cNvPr>
              <p:cNvSpPr txBox="1"/>
              <p:nvPr/>
            </p:nvSpPr>
            <p:spPr>
              <a:xfrm>
                <a:off x="1305921" y="1905416"/>
                <a:ext cx="2254410" cy="143886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lnSpc>
                    <a:spcPct val="85000"/>
                  </a:lnSpc>
                  <a:buClrTx/>
                  <a:defRPr/>
                </a:pPr>
                <a:r>
                  <a:rPr lang="ru-RU" sz="1100" dirty="0">
                    <a:latin typeface="Roboto Light" panose="02000000000000000000" pitchFamily="2" charset="0"/>
                    <a:ea typeface="Roboto Light" panose="02000000000000000000" pitchFamily="2" charset="0"/>
                  </a:rPr>
                  <a:t>Директор по развитию продуктов</a:t>
                </a:r>
                <a:endPara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endParaRPr>
              </a:p>
            </p:txBody>
          </p:sp>
        </p:grpSp>
        <p:pic>
          <p:nvPicPr>
            <p:cNvPr id="108" name="Рисунок 107">
              <a:extLst>
                <a:ext uri="{FF2B5EF4-FFF2-40B4-BE49-F238E27FC236}">
                  <a16:creationId xmlns:a16="http://schemas.microsoft.com/office/drawing/2014/main" id="{FEF38F9B-28EC-47EF-9704-54A8207A1F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4446" b="30694"/>
            <a:stretch/>
          </p:blipFill>
          <p:spPr>
            <a:xfrm>
              <a:off x="1373289" y="5597342"/>
              <a:ext cx="587423" cy="571500"/>
            </a:xfrm>
            <a:custGeom>
              <a:avLst/>
              <a:gdLst>
                <a:gd name="connsiteX0" fmla="*/ 285750 w 571500"/>
                <a:gd name="connsiteY0" fmla="*/ 0 h 571500"/>
                <a:gd name="connsiteX1" fmla="*/ 571500 w 571500"/>
                <a:gd name="connsiteY1" fmla="*/ 285750 h 571500"/>
                <a:gd name="connsiteX2" fmla="*/ 285750 w 571500"/>
                <a:gd name="connsiteY2" fmla="*/ 571500 h 571500"/>
                <a:gd name="connsiteX3" fmla="*/ 0 w 571500"/>
                <a:gd name="connsiteY3" fmla="*/ 285750 h 571500"/>
                <a:gd name="connsiteX4" fmla="*/ 285750 w 571500"/>
                <a:gd name="connsiteY4" fmla="*/ 0 h 571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1500" h="571500">
                  <a:moveTo>
                    <a:pt x="285750" y="0"/>
                  </a:moveTo>
                  <a:cubicBezTo>
                    <a:pt x="443565" y="0"/>
                    <a:pt x="571500" y="127935"/>
                    <a:pt x="571500" y="285750"/>
                  </a:cubicBezTo>
                  <a:cubicBezTo>
                    <a:pt x="571500" y="443565"/>
                    <a:pt x="443565" y="571500"/>
                    <a:pt x="285750" y="571500"/>
                  </a:cubicBezTo>
                  <a:cubicBezTo>
                    <a:pt x="127935" y="571500"/>
                    <a:pt x="0" y="443565"/>
                    <a:pt x="0" y="285750"/>
                  </a:cubicBezTo>
                  <a:cubicBezTo>
                    <a:pt x="0" y="127935"/>
                    <a:pt x="127935" y="0"/>
                    <a:pt x="285750" y="0"/>
                  </a:cubicBezTo>
                  <a:close/>
                </a:path>
              </a:pathLst>
            </a:custGeom>
          </p:spPr>
        </p:pic>
      </p:grpSp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1A17FAC9-F065-4DC7-A999-0F80BBCA5B7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10915" y="1243765"/>
            <a:ext cx="5191146" cy="443994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412408295"/>
      </p:ext>
    </p:extLst>
  </p:cSld>
  <p:clrMapOvr>
    <a:masterClrMapping/>
  </p:clrMapOvr>
  <p:transition spd="slow">
    <p:push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2" name="Группа 171">
            <a:extLst>
              <a:ext uri="{FF2B5EF4-FFF2-40B4-BE49-F238E27FC236}">
                <a16:creationId xmlns:a16="http://schemas.microsoft.com/office/drawing/2014/main" id="{2F85AABA-AB96-44A6-9828-9DB7B4658033}"/>
              </a:ext>
            </a:extLst>
          </p:cNvPr>
          <p:cNvGrpSpPr/>
          <p:nvPr/>
        </p:nvGrpSpPr>
        <p:grpSpPr>
          <a:xfrm>
            <a:off x="1225283" y="3743536"/>
            <a:ext cx="9708924" cy="1143115"/>
            <a:chOff x="1225283" y="1717853"/>
            <a:chExt cx="9708924" cy="1143115"/>
          </a:xfrm>
        </p:grpSpPr>
        <p:cxnSp>
          <p:nvCxnSpPr>
            <p:cNvPr id="173" name="Прямая соединительная линия 172">
              <a:extLst>
                <a:ext uri="{FF2B5EF4-FFF2-40B4-BE49-F238E27FC236}">
                  <a16:creationId xmlns:a16="http://schemas.microsoft.com/office/drawing/2014/main" id="{E6F917E0-7201-48C6-A9CE-3AFAD1ADE9AD}"/>
                </a:ext>
              </a:extLst>
            </p:cNvPr>
            <p:cNvCxnSpPr>
              <a:cxnSpLocks/>
              <a:stCxn id="177" idx="1"/>
              <a:endCxn id="174" idx="3"/>
            </p:cNvCxnSpPr>
            <p:nvPr/>
          </p:nvCxnSpPr>
          <p:spPr>
            <a:xfrm flipH="1">
              <a:off x="3477643" y="2289411"/>
              <a:ext cx="5204204" cy="0"/>
            </a:xfrm>
            <a:prstGeom prst="line">
              <a:avLst/>
            </a:prstGeom>
            <a:ln w="28575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4" name="Shape_фон">
              <a:extLst>
                <a:ext uri="{FF2B5EF4-FFF2-40B4-BE49-F238E27FC236}">
                  <a16:creationId xmlns:a16="http://schemas.microsoft.com/office/drawing/2014/main" id="{6A57D043-1CBC-4BFE-B4A9-877D0E088D83}"/>
                </a:ext>
              </a:extLst>
            </p:cNvPr>
            <p:cNvSpPr/>
            <p:nvPr/>
          </p:nvSpPr>
          <p:spPr>
            <a:xfrm>
              <a:off x="1225283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6" name="Shape_фон">
              <a:extLst>
                <a:ext uri="{FF2B5EF4-FFF2-40B4-BE49-F238E27FC236}">
                  <a16:creationId xmlns:a16="http://schemas.microsoft.com/office/drawing/2014/main" id="{4045B355-0A8F-440E-9728-8ECB7097DBAF}"/>
                </a:ext>
              </a:extLst>
            </p:cNvPr>
            <p:cNvSpPr/>
            <p:nvPr/>
          </p:nvSpPr>
          <p:spPr>
            <a:xfrm>
              <a:off x="4969820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>
                <a:defRPr/>
              </a:pPr>
              <a:endPara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77" name="Shape_фон">
              <a:extLst>
                <a:ext uri="{FF2B5EF4-FFF2-40B4-BE49-F238E27FC236}">
                  <a16:creationId xmlns:a16="http://schemas.microsoft.com/office/drawing/2014/main" id="{EB9ED5CD-3C48-43DA-A53D-F643D26A85B5}"/>
                </a:ext>
              </a:extLst>
            </p:cNvPr>
            <p:cNvSpPr/>
            <p:nvPr/>
          </p:nvSpPr>
          <p:spPr>
            <a:xfrm>
              <a:off x="8681847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>
                <a:defRPr/>
              </a:pPr>
              <a:endPara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1" name="Motion design">
              <a:extLst>
                <a:ext uri="{FF2B5EF4-FFF2-40B4-BE49-F238E27FC236}">
                  <a16:creationId xmlns:a16="http://schemas.microsoft.com/office/drawing/2014/main" id="{E021ECCC-C8BD-42CA-8516-1D001DF7CCD4}"/>
                </a:ext>
              </a:extLst>
            </p:cNvPr>
            <p:cNvSpPr txBox="1"/>
            <p:nvPr/>
          </p:nvSpPr>
          <p:spPr>
            <a:xfrm>
              <a:off x="1528519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С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Customer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82" name="Motion design">
              <a:extLst>
                <a:ext uri="{FF2B5EF4-FFF2-40B4-BE49-F238E27FC236}">
                  <a16:creationId xmlns:a16="http://schemas.microsoft.com/office/drawing/2014/main" id="{CA4B3526-783A-4CC2-B4F7-D75912DCC362}"/>
                </a:ext>
              </a:extLst>
            </p:cNvPr>
            <p:cNvSpPr txBox="1"/>
            <p:nvPr/>
          </p:nvSpPr>
          <p:spPr>
            <a:xfrm>
              <a:off x="5273056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lang="en-US" sz="6000" b="1" dirty="0">
                  <a:solidFill>
                    <a:schemeClr val="bg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D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Data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83" name="Motion design">
              <a:extLst>
                <a:ext uri="{FF2B5EF4-FFF2-40B4-BE49-F238E27FC236}">
                  <a16:creationId xmlns:a16="http://schemas.microsoft.com/office/drawing/2014/main" id="{2B0BC344-0457-41DB-BF64-6229D9D90BB2}"/>
                </a:ext>
              </a:extLst>
            </p:cNvPr>
            <p:cNvSpPr txBox="1"/>
            <p:nvPr/>
          </p:nvSpPr>
          <p:spPr>
            <a:xfrm>
              <a:off x="8985083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lang="en-US" sz="6000" b="1" dirty="0">
                  <a:solidFill>
                    <a:schemeClr val="bg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I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ntegration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</p:grp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356611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cxnSp>
        <p:nvCxnSpPr>
          <p:cNvPr id="57" name="Прямая соединительная линия 56">
            <a:extLst>
              <a:ext uri="{FF2B5EF4-FFF2-40B4-BE49-F238E27FC236}">
                <a16:creationId xmlns:a16="http://schemas.microsoft.com/office/drawing/2014/main" id="{68B3463B-CB55-46B6-AB76-ECF829BBEC52}"/>
              </a:ext>
            </a:extLst>
          </p:cNvPr>
          <p:cNvCxnSpPr>
            <a:cxnSpLocks/>
            <a:stCxn id="69" idx="2"/>
          </p:cNvCxnSpPr>
          <p:nvPr/>
        </p:nvCxnSpPr>
        <p:spPr>
          <a:xfrm>
            <a:off x="3427354" y="2521358"/>
            <a:ext cx="0" cy="2353325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F9778C65-A66E-44CA-A0CF-7E802FF93A56}"/>
              </a:ext>
            </a:extLst>
          </p:cNvPr>
          <p:cNvCxnSpPr>
            <a:cxnSpLocks/>
            <a:stCxn id="87" idx="2"/>
          </p:cNvCxnSpPr>
          <p:nvPr/>
        </p:nvCxnSpPr>
        <p:spPr>
          <a:xfrm>
            <a:off x="4297868" y="3018414"/>
            <a:ext cx="133" cy="1928236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>
            <a:extLst>
              <a:ext uri="{FF2B5EF4-FFF2-40B4-BE49-F238E27FC236}">
                <a16:creationId xmlns:a16="http://schemas.microsoft.com/office/drawing/2014/main" id="{12E53CE7-6B75-4991-9735-0BD04D6F410A}"/>
              </a:ext>
            </a:extLst>
          </p:cNvPr>
          <p:cNvCxnSpPr>
            <a:cxnSpLocks/>
            <a:stCxn id="100" idx="2"/>
          </p:cNvCxnSpPr>
          <p:nvPr/>
        </p:nvCxnSpPr>
        <p:spPr>
          <a:xfrm>
            <a:off x="5192528" y="2580095"/>
            <a:ext cx="0" cy="2512605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Прямая соединительная линия 107">
            <a:extLst>
              <a:ext uri="{FF2B5EF4-FFF2-40B4-BE49-F238E27FC236}">
                <a16:creationId xmlns:a16="http://schemas.microsoft.com/office/drawing/2014/main" id="{7BC216BB-274B-4898-B738-6BC5B5C6B3D0}"/>
              </a:ext>
            </a:extLst>
          </p:cNvPr>
          <p:cNvCxnSpPr>
            <a:cxnSpLocks/>
            <a:stCxn id="110" idx="2"/>
          </p:cNvCxnSpPr>
          <p:nvPr/>
        </p:nvCxnSpPr>
        <p:spPr>
          <a:xfrm>
            <a:off x="6010515" y="3175412"/>
            <a:ext cx="0" cy="1699271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B5350F49-1550-41C1-AA78-37EF1DD84455}"/>
              </a:ext>
            </a:extLst>
          </p:cNvPr>
          <p:cNvCxnSpPr>
            <a:cxnSpLocks/>
            <a:stCxn id="122" idx="2"/>
          </p:cNvCxnSpPr>
          <p:nvPr/>
        </p:nvCxnSpPr>
        <p:spPr>
          <a:xfrm>
            <a:off x="6910816" y="2521358"/>
            <a:ext cx="0" cy="2535782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Прямая соединительная линия 127">
            <a:extLst>
              <a:ext uri="{FF2B5EF4-FFF2-40B4-BE49-F238E27FC236}">
                <a16:creationId xmlns:a16="http://schemas.microsoft.com/office/drawing/2014/main" id="{E0E061B0-22E7-4C9B-8CA2-C7384A6182D3}"/>
              </a:ext>
            </a:extLst>
          </p:cNvPr>
          <p:cNvCxnSpPr>
            <a:cxnSpLocks/>
            <a:stCxn id="130" idx="2"/>
          </p:cNvCxnSpPr>
          <p:nvPr/>
        </p:nvCxnSpPr>
        <p:spPr>
          <a:xfrm>
            <a:off x="7803647" y="3018414"/>
            <a:ext cx="0" cy="1928236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7" name="Прямая соединительная линия 136">
            <a:extLst>
              <a:ext uri="{FF2B5EF4-FFF2-40B4-BE49-F238E27FC236}">
                <a16:creationId xmlns:a16="http://schemas.microsoft.com/office/drawing/2014/main" id="{3B3309EF-6CB6-455B-A80E-556DC3F27368}"/>
              </a:ext>
            </a:extLst>
          </p:cNvPr>
          <p:cNvCxnSpPr>
            <a:cxnSpLocks/>
            <a:stCxn id="139" idx="2"/>
          </p:cNvCxnSpPr>
          <p:nvPr/>
        </p:nvCxnSpPr>
        <p:spPr>
          <a:xfrm>
            <a:off x="8796985" y="2580095"/>
            <a:ext cx="0" cy="238878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DF653A38-0A3B-4091-BB2A-23412F8FD447}"/>
              </a:ext>
            </a:extLst>
          </p:cNvPr>
          <p:cNvGrpSpPr/>
          <p:nvPr/>
        </p:nvGrpSpPr>
        <p:grpSpPr>
          <a:xfrm>
            <a:off x="2757997" y="2296867"/>
            <a:ext cx="1338714" cy="224491"/>
            <a:chOff x="6510195" y="1556711"/>
            <a:chExt cx="5051622" cy="847113"/>
          </a:xfrm>
        </p:grpSpPr>
        <p:sp>
          <p:nvSpPr>
            <p:cNvPr id="69" name="Rounded Rectangle">
              <a:extLst>
                <a:ext uri="{FF2B5EF4-FFF2-40B4-BE49-F238E27FC236}">
                  <a16:creationId xmlns:a16="http://schemas.microsoft.com/office/drawing/2014/main" id="{1F120190-8F49-4275-85FB-E32EB89790A6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70" name="Motion design">
              <a:extLst>
                <a:ext uri="{FF2B5EF4-FFF2-40B4-BE49-F238E27FC236}">
                  <a16:creationId xmlns:a16="http://schemas.microsoft.com/office/drawing/2014/main" id="{B92FFCF2-8EBA-4D75-8EA3-DBD7113945A5}"/>
                </a:ext>
              </a:extLst>
            </p:cNvPr>
            <p:cNvSpPr txBox="1"/>
            <p:nvPr/>
          </p:nvSpPr>
          <p:spPr>
            <a:xfrm>
              <a:off x="7434556" y="1694817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Регуляторы</a:t>
              </a:r>
            </a:p>
          </p:txBody>
        </p:sp>
        <p:sp>
          <p:nvSpPr>
            <p:cNvPr id="71" name="Circle">
              <a:extLst>
                <a:ext uri="{FF2B5EF4-FFF2-40B4-BE49-F238E27FC236}">
                  <a16:creationId xmlns:a16="http://schemas.microsoft.com/office/drawing/2014/main" id="{37B5654B-E0A6-41BA-A1EC-4CCF93D7F88A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20D03523-FB9A-4B58-992E-853276AF0B8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sp>
        <p:nvSpPr>
          <p:cNvPr id="5" name="Заголовок">
            <a:extLst>
              <a:ext uri="{FF2B5EF4-FFF2-40B4-BE49-F238E27FC236}">
                <a16:creationId xmlns:a16="http://schemas.microsoft.com/office/drawing/2014/main" id="{CCD99420-F822-4E71-B967-BCF958CE868B}"/>
              </a:ext>
            </a:extLst>
          </p:cNvPr>
          <p:cNvSpPr txBox="1"/>
          <p:nvPr/>
        </p:nvSpPr>
        <p:spPr>
          <a:xfrm>
            <a:off x="552786" y="255394"/>
            <a:ext cx="48189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Прошло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1-2015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6" name="Таймлайн">
            <a:extLst>
              <a:ext uri="{FF2B5EF4-FFF2-40B4-BE49-F238E27FC236}">
                <a16:creationId xmlns:a16="http://schemas.microsoft.com/office/drawing/2014/main" id="{B7A0B0D6-1771-4627-AC89-29E9178C67BF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15136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32" name="Горы">
            <a:extLst>
              <a:ext uri="{FF2B5EF4-FFF2-40B4-BE49-F238E27FC236}">
                <a16:creationId xmlns:a16="http://schemas.microsoft.com/office/drawing/2014/main" id="{72235193-BAF1-4896-8AE5-6238B345584A}"/>
              </a:ext>
            </a:extLst>
          </p:cNvPr>
          <p:cNvGrpSpPr/>
          <p:nvPr/>
        </p:nvGrpSpPr>
        <p:grpSpPr>
          <a:xfrm>
            <a:off x="1587500" y="4600270"/>
            <a:ext cx="8851900" cy="800338"/>
            <a:chOff x="266731" y="4368798"/>
            <a:chExt cx="12028084" cy="1087505"/>
          </a:xfrm>
        </p:grpSpPr>
        <p:sp>
          <p:nvSpPr>
            <p:cNvPr id="31" name="Овал 30">
              <a:extLst>
                <a:ext uri="{FF2B5EF4-FFF2-40B4-BE49-F238E27FC236}">
                  <a16:creationId xmlns:a16="http://schemas.microsoft.com/office/drawing/2014/main" id="{69455B26-5924-4589-9961-F20F9072C5EB}"/>
                </a:ext>
              </a:extLst>
            </p:cNvPr>
            <p:cNvSpPr/>
            <p:nvPr/>
          </p:nvSpPr>
          <p:spPr>
            <a:xfrm>
              <a:off x="285702" y="5141011"/>
              <a:ext cx="12009113" cy="315292"/>
            </a:xfrm>
            <a:prstGeom prst="ellipse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grpSp>
          <p:nvGrpSpPr>
            <p:cNvPr id="30" name="Группа 29">
              <a:extLst>
                <a:ext uri="{FF2B5EF4-FFF2-40B4-BE49-F238E27FC236}">
                  <a16:creationId xmlns:a16="http://schemas.microsoft.com/office/drawing/2014/main" id="{016CE759-15EA-4AAC-80DF-1DB130BDBBA5}"/>
                </a:ext>
              </a:extLst>
            </p:cNvPr>
            <p:cNvGrpSpPr/>
            <p:nvPr/>
          </p:nvGrpSpPr>
          <p:grpSpPr>
            <a:xfrm>
              <a:off x="266731" y="4368798"/>
              <a:ext cx="11997341" cy="916264"/>
              <a:chOff x="-220210" y="3429000"/>
              <a:chExt cx="13608806" cy="1039336"/>
            </a:xfrm>
          </p:grpSpPr>
          <p:pic>
            <p:nvPicPr>
              <p:cNvPr id="26" name="Рисунок 25">
                <a:extLst>
                  <a:ext uri="{FF2B5EF4-FFF2-40B4-BE49-F238E27FC236}">
                    <a16:creationId xmlns:a16="http://schemas.microsoft.com/office/drawing/2014/main" id="{5083B818-EC8C-41C1-A397-049ADFB460F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4888198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4" name="Рисунок 23">
                <a:extLst>
                  <a:ext uri="{FF2B5EF4-FFF2-40B4-BE49-F238E27FC236}">
                    <a16:creationId xmlns:a16="http://schemas.microsoft.com/office/drawing/2014/main" id="{DCAC2217-4FB0-45EC-B5F8-079C8E72B05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-220210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25" name="Рисунок 24">
                <a:extLst>
                  <a:ext uri="{FF2B5EF4-FFF2-40B4-BE49-F238E27FC236}">
                    <a16:creationId xmlns:a16="http://schemas.microsoft.com/office/drawing/2014/main" id="{02A75ADD-A489-4184-BB20-24DFBC980DF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1838626" y="3429001"/>
                <a:ext cx="4117673" cy="1039335"/>
              </a:xfrm>
              <a:prstGeom prst="rect">
                <a:avLst/>
              </a:prstGeom>
            </p:spPr>
          </p:pic>
          <p:pic>
            <p:nvPicPr>
              <p:cNvPr id="28" name="Рисунок 27">
                <a:extLst>
                  <a:ext uri="{FF2B5EF4-FFF2-40B4-BE49-F238E27FC236}">
                    <a16:creationId xmlns:a16="http://schemas.microsoft.com/office/drawing/2014/main" id="{CCD1CE5F-119C-4274-B921-A9DF9B8E0FD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>
                <a:off x="6612389" y="3429000"/>
                <a:ext cx="4117672" cy="1039335"/>
              </a:xfrm>
              <a:prstGeom prst="rect">
                <a:avLst/>
              </a:prstGeom>
            </p:spPr>
          </p:pic>
          <p:pic>
            <p:nvPicPr>
              <p:cNvPr id="33" name="Рисунок 32">
                <a:extLst>
                  <a:ext uri="{FF2B5EF4-FFF2-40B4-BE49-F238E27FC236}">
                    <a16:creationId xmlns:a16="http://schemas.microsoft.com/office/drawing/2014/main" id="{114307A5-414D-4875-83E6-6E39745D7C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tretch>
                <a:fillRect/>
              </a:stretch>
            </p:blipFill>
            <p:spPr>
              <a:xfrm flipH="1">
                <a:off x="9270924" y="3429001"/>
                <a:ext cx="4117672" cy="1039335"/>
              </a:xfrm>
              <a:prstGeom prst="rect">
                <a:avLst/>
              </a:prstGeom>
            </p:spPr>
          </p:pic>
        </p:grpSp>
      </p:grp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84C3D35B-0F9C-4319-9091-5796E02D3EC7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4BF7DCBF-4155-4892-8BD0-E734D736F982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писание">
            <a:extLst>
              <a:ext uri="{FF2B5EF4-FFF2-40B4-BE49-F238E27FC236}">
                <a16:creationId xmlns:a16="http://schemas.microsoft.com/office/drawing/2014/main" id="{0742915A-706D-4A94-BA0E-B3D7D31ECA9A}"/>
              </a:ext>
            </a:extLst>
          </p:cNvPr>
          <p:cNvSpPr txBox="1"/>
          <p:nvPr/>
        </p:nvSpPr>
        <p:spPr>
          <a:xfrm>
            <a:off x="5543637" y="5562259"/>
            <a:ext cx="10214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D0D0D">
                    <a:lumMod val="75000"/>
                    <a:lumOff val="2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Барь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D0D0D">
                  <a:lumMod val="75000"/>
                  <a:lumOff val="25000"/>
                </a:srgbClr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BAE3F9DD-699E-459F-AD9D-889B77701DE2}"/>
              </a:ext>
            </a:extLst>
          </p:cNvPr>
          <p:cNvGrpSpPr/>
          <p:nvPr/>
        </p:nvGrpSpPr>
        <p:grpSpPr>
          <a:xfrm>
            <a:off x="3628511" y="2793923"/>
            <a:ext cx="1338714" cy="224491"/>
            <a:chOff x="6510195" y="1556711"/>
            <a:chExt cx="5051622" cy="847113"/>
          </a:xfrm>
        </p:grpSpPr>
        <p:sp>
          <p:nvSpPr>
            <p:cNvPr id="87" name="Rounded Rectangle">
              <a:extLst>
                <a:ext uri="{FF2B5EF4-FFF2-40B4-BE49-F238E27FC236}">
                  <a16:creationId xmlns:a16="http://schemas.microsoft.com/office/drawing/2014/main" id="{F34F06CC-F6C7-4658-835D-37DA620F1514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88" name="Motion design">
              <a:extLst>
                <a:ext uri="{FF2B5EF4-FFF2-40B4-BE49-F238E27FC236}">
                  <a16:creationId xmlns:a16="http://schemas.microsoft.com/office/drawing/2014/main" id="{21D38D93-E94F-4345-AC58-61DDE6EEDABD}"/>
                </a:ext>
              </a:extLst>
            </p:cNvPr>
            <p:cNvSpPr txBox="1"/>
            <p:nvPr/>
          </p:nvSpPr>
          <p:spPr>
            <a:xfrm>
              <a:off x="7434556" y="1694817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Хаос в данных</a:t>
              </a:r>
            </a:p>
          </p:txBody>
        </p:sp>
        <p:sp>
          <p:nvSpPr>
            <p:cNvPr id="89" name="Circle">
              <a:extLst>
                <a:ext uri="{FF2B5EF4-FFF2-40B4-BE49-F238E27FC236}">
                  <a16:creationId xmlns:a16="http://schemas.microsoft.com/office/drawing/2014/main" id="{942F74CA-9B15-4CA0-840E-703331A7C5A5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90" name="Рисунок 89">
              <a:extLst>
                <a:ext uri="{FF2B5EF4-FFF2-40B4-BE49-F238E27FC236}">
                  <a16:creationId xmlns:a16="http://schemas.microsoft.com/office/drawing/2014/main" id="{D4B28B21-06C3-4637-9D99-694B207BAC3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CFE59D98-C69B-4B1B-AE51-A720776C53AA}"/>
              </a:ext>
            </a:extLst>
          </p:cNvPr>
          <p:cNvGrpSpPr/>
          <p:nvPr/>
        </p:nvGrpSpPr>
        <p:grpSpPr>
          <a:xfrm>
            <a:off x="4523171" y="2355604"/>
            <a:ext cx="1338714" cy="224491"/>
            <a:chOff x="6510195" y="1556711"/>
            <a:chExt cx="5051622" cy="847113"/>
          </a:xfrm>
        </p:grpSpPr>
        <p:sp>
          <p:nvSpPr>
            <p:cNvPr id="100" name="Rounded Rectangle">
              <a:extLst>
                <a:ext uri="{FF2B5EF4-FFF2-40B4-BE49-F238E27FC236}">
                  <a16:creationId xmlns:a16="http://schemas.microsoft.com/office/drawing/2014/main" id="{67A8093D-6E07-423C-9CC6-5C423327AB6E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1" name="Motion design">
              <a:extLst>
                <a:ext uri="{FF2B5EF4-FFF2-40B4-BE49-F238E27FC236}">
                  <a16:creationId xmlns:a16="http://schemas.microsoft.com/office/drawing/2014/main" id="{4107933F-4125-4DF9-92E8-90260D2EC72F}"/>
                </a:ext>
              </a:extLst>
            </p:cNvPr>
            <p:cNvSpPr txBox="1"/>
            <p:nvPr/>
          </p:nvSpPr>
          <p:spPr>
            <a:xfrm>
              <a:off x="7360917" y="1662599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Legacy-</a:t>
              </a: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системы</a:t>
              </a:r>
            </a:p>
          </p:txBody>
        </p:sp>
        <p:sp>
          <p:nvSpPr>
            <p:cNvPr id="102" name="Circle">
              <a:extLst>
                <a:ext uri="{FF2B5EF4-FFF2-40B4-BE49-F238E27FC236}">
                  <a16:creationId xmlns:a16="http://schemas.microsoft.com/office/drawing/2014/main" id="{872A22BA-A8D0-4E4F-B5B4-04449420F328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03" name="Рисунок 102">
              <a:extLst>
                <a:ext uri="{FF2B5EF4-FFF2-40B4-BE49-F238E27FC236}">
                  <a16:creationId xmlns:a16="http://schemas.microsoft.com/office/drawing/2014/main" id="{4915775A-27E3-4B02-8F39-AB5B621F541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09" name="Группа 108">
            <a:extLst>
              <a:ext uri="{FF2B5EF4-FFF2-40B4-BE49-F238E27FC236}">
                <a16:creationId xmlns:a16="http://schemas.microsoft.com/office/drawing/2014/main" id="{C4496B0C-16E3-4E5A-B83A-D8435A0992BE}"/>
              </a:ext>
            </a:extLst>
          </p:cNvPr>
          <p:cNvGrpSpPr/>
          <p:nvPr/>
        </p:nvGrpSpPr>
        <p:grpSpPr>
          <a:xfrm>
            <a:off x="5341158" y="2950921"/>
            <a:ext cx="1338714" cy="224491"/>
            <a:chOff x="6510195" y="1556711"/>
            <a:chExt cx="5051622" cy="847113"/>
          </a:xfrm>
        </p:grpSpPr>
        <p:sp>
          <p:nvSpPr>
            <p:cNvPr id="110" name="Rounded Rectangle">
              <a:extLst>
                <a:ext uri="{FF2B5EF4-FFF2-40B4-BE49-F238E27FC236}">
                  <a16:creationId xmlns:a16="http://schemas.microsoft.com/office/drawing/2014/main" id="{1B0D7CA3-091A-4A44-9895-4CBCFFD956D4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1" name="Motion design">
              <a:extLst>
                <a:ext uri="{FF2B5EF4-FFF2-40B4-BE49-F238E27FC236}">
                  <a16:creationId xmlns:a16="http://schemas.microsoft.com/office/drawing/2014/main" id="{76CF9538-C3E3-4706-85E6-836FD00EC623}"/>
                </a:ext>
              </a:extLst>
            </p:cNvPr>
            <p:cNvSpPr txBox="1"/>
            <p:nvPr/>
          </p:nvSpPr>
          <p:spPr>
            <a:xfrm>
              <a:off x="7333283" y="1694817"/>
              <a:ext cx="3904915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Ограничения железа</a:t>
              </a:r>
            </a:p>
          </p:txBody>
        </p:sp>
        <p:sp>
          <p:nvSpPr>
            <p:cNvPr id="112" name="Circle">
              <a:extLst>
                <a:ext uri="{FF2B5EF4-FFF2-40B4-BE49-F238E27FC236}">
                  <a16:creationId xmlns:a16="http://schemas.microsoft.com/office/drawing/2014/main" id="{7E1851CA-1EA5-4B2C-B5D6-58320DDCFCCD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13" name="Рисунок 112">
              <a:extLst>
                <a:ext uri="{FF2B5EF4-FFF2-40B4-BE49-F238E27FC236}">
                  <a16:creationId xmlns:a16="http://schemas.microsoft.com/office/drawing/2014/main" id="{7A2D60DA-1C40-4B53-A54B-C28B06A48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21" name="Группа 120">
            <a:extLst>
              <a:ext uri="{FF2B5EF4-FFF2-40B4-BE49-F238E27FC236}">
                <a16:creationId xmlns:a16="http://schemas.microsoft.com/office/drawing/2014/main" id="{23F3E0FC-2DF8-4A48-AADA-F7A5003D5D1E}"/>
              </a:ext>
            </a:extLst>
          </p:cNvPr>
          <p:cNvGrpSpPr/>
          <p:nvPr/>
        </p:nvGrpSpPr>
        <p:grpSpPr>
          <a:xfrm>
            <a:off x="6241459" y="2296867"/>
            <a:ext cx="1338714" cy="224491"/>
            <a:chOff x="6510195" y="1556711"/>
            <a:chExt cx="5051622" cy="847113"/>
          </a:xfrm>
        </p:grpSpPr>
        <p:sp>
          <p:nvSpPr>
            <p:cNvPr id="122" name="Rounded Rectangle">
              <a:extLst>
                <a:ext uri="{FF2B5EF4-FFF2-40B4-BE49-F238E27FC236}">
                  <a16:creationId xmlns:a16="http://schemas.microsoft.com/office/drawing/2014/main" id="{100B1801-51D5-4AD8-B696-8CB8D47CA11F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3" name="Motion design">
              <a:extLst>
                <a:ext uri="{FF2B5EF4-FFF2-40B4-BE49-F238E27FC236}">
                  <a16:creationId xmlns:a16="http://schemas.microsoft.com/office/drawing/2014/main" id="{F0C390E1-B65C-46BE-8A5A-FA3D1FB662E2}"/>
                </a:ext>
              </a:extLst>
            </p:cNvPr>
            <p:cNvSpPr txBox="1"/>
            <p:nvPr/>
          </p:nvSpPr>
          <p:spPr>
            <a:xfrm>
              <a:off x="7377048" y="1680440"/>
              <a:ext cx="410132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Человеческий фактор</a:t>
              </a:r>
            </a:p>
          </p:txBody>
        </p:sp>
        <p:sp>
          <p:nvSpPr>
            <p:cNvPr id="124" name="Circle">
              <a:extLst>
                <a:ext uri="{FF2B5EF4-FFF2-40B4-BE49-F238E27FC236}">
                  <a16:creationId xmlns:a16="http://schemas.microsoft.com/office/drawing/2014/main" id="{F56C994F-BBD7-4C32-B486-5F2FD55CCC7B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25" name="Рисунок 124">
              <a:extLst>
                <a:ext uri="{FF2B5EF4-FFF2-40B4-BE49-F238E27FC236}">
                  <a16:creationId xmlns:a16="http://schemas.microsoft.com/office/drawing/2014/main" id="{3DC59090-0609-44AF-925B-6803AFE7C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29" name="Группа 128">
            <a:extLst>
              <a:ext uri="{FF2B5EF4-FFF2-40B4-BE49-F238E27FC236}">
                <a16:creationId xmlns:a16="http://schemas.microsoft.com/office/drawing/2014/main" id="{D074F0AE-D3F9-4467-9D85-D4CA479B4373}"/>
              </a:ext>
            </a:extLst>
          </p:cNvPr>
          <p:cNvGrpSpPr/>
          <p:nvPr/>
        </p:nvGrpSpPr>
        <p:grpSpPr>
          <a:xfrm>
            <a:off x="7032213" y="2793923"/>
            <a:ext cx="1542867" cy="224491"/>
            <a:chOff x="6510191" y="1556711"/>
            <a:chExt cx="5821990" cy="847113"/>
          </a:xfrm>
        </p:grpSpPr>
        <p:sp>
          <p:nvSpPr>
            <p:cNvPr id="130" name="Rounded Rectangle">
              <a:extLst>
                <a:ext uri="{FF2B5EF4-FFF2-40B4-BE49-F238E27FC236}">
                  <a16:creationId xmlns:a16="http://schemas.microsoft.com/office/drawing/2014/main" id="{31952195-B71B-4A89-A8BE-FF566A86E15D}"/>
                </a:ext>
              </a:extLst>
            </p:cNvPr>
            <p:cNvSpPr/>
            <p:nvPr/>
          </p:nvSpPr>
          <p:spPr>
            <a:xfrm>
              <a:off x="6510191" y="1556711"/>
              <a:ext cx="5821990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31" name="Motion design">
              <a:extLst>
                <a:ext uri="{FF2B5EF4-FFF2-40B4-BE49-F238E27FC236}">
                  <a16:creationId xmlns:a16="http://schemas.microsoft.com/office/drawing/2014/main" id="{E4513624-2D42-4EA3-821A-C23106C87F93}"/>
                </a:ext>
              </a:extLst>
            </p:cNvPr>
            <p:cNvSpPr txBox="1"/>
            <p:nvPr/>
          </p:nvSpPr>
          <p:spPr>
            <a:xfrm>
              <a:off x="7434556" y="1694817"/>
              <a:ext cx="4412155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Изменения внеш. среды</a:t>
              </a:r>
            </a:p>
          </p:txBody>
        </p:sp>
        <p:sp>
          <p:nvSpPr>
            <p:cNvPr id="132" name="Circle">
              <a:extLst>
                <a:ext uri="{FF2B5EF4-FFF2-40B4-BE49-F238E27FC236}">
                  <a16:creationId xmlns:a16="http://schemas.microsoft.com/office/drawing/2014/main" id="{6D1B1DA4-38CB-4B33-85E0-9132A8AD8AF8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33" name="Рисунок 132">
              <a:extLst>
                <a:ext uri="{FF2B5EF4-FFF2-40B4-BE49-F238E27FC236}">
                  <a16:creationId xmlns:a16="http://schemas.microsoft.com/office/drawing/2014/main" id="{25673E71-E63F-4ED9-904C-8FEE6EC3829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grpSp>
        <p:nvGrpSpPr>
          <p:cNvPr id="138" name="Группа 137">
            <a:extLst>
              <a:ext uri="{FF2B5EF4-FFF2-40B4-BE49-F238E27FC236}">
                <a16:creationId xmlns:a16="http://schemas.microsoft.com/office/drawing/2014/main" id="{9A2F7511-A247-447C-906F-EEB06E8873BA}"/>
              </a:ext>
            </a:extLst>
          </p:cNvPr>
          <p:cNvGrpSpPr/>
          <p:nvPr/>
        </p:nvGrpSpPr>
        <p:grpSpPr>
          <a:xfrm>
            <a:off x="8127628" y="2355604"/>
            <a:ext cx="1338714" cy="224491"/>
            <a:chOff x="6510195" y="1556711"/>
            <a:chExt cx="5051622" cy="847113"/>
          </a:xfrm>
        </p:grpSpPr>
        <p:sp>
          <p:nvSpPr>
            <p:cNvPr id="139" name="Rounded Rectangle">
              <a:extLst>
                <a:ext uri="{FF2B5EF4-FFF2-40B4-BE49-F238E27FC236}">
                  <a16:creationId xmlns:a16="http://schemas.microsoft.com/office/drawing/2014/main" id="{1C02B053-892D-48B2-AE05-9D8012D862FD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0" name="Motion design">
              <a:extLst>
                <a:ext uri="{FF2B5EF4-FFF2-40B4-BE49-F238E27FC236}">
                  <a16:creationId xmlns:a16="http://schemas.microsoft.com/office/drawing/2014/main" id="{07F89784-1786-4B23-B859-9759BBF8E55D}"/>
                </a:ext>
              </a:extLst>
            </p:cNvPr>
            <p:cNvSpPr txBox="1"/>
            <p:nvPr/>
          </p:nvSpPr>
          <p:spPr>
            <a:xfrm>
              <a:off x="7360917" y="1662599"/>
              <a:ext cx="3691419" cy="549725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Чёрные лебеди</a:t>
              </a:r>
            </a:p>
          </p:txBody>
        </p:sp>
        <p:sp>
          <p:nvSpPr>
            <p:cNvPr id="141" name="Circle">
              <a:extLst>
                <a:ext uri="{FF2B5EF4-FFF2-40B4-BE49-F238E27FC236}">
                  <a16:creationId xmlns:a16="http://schemas.microsoft.com/office/drawing/2014/main" id="{7C3FDDCF-EAE0-4A39-B43F-10D679CF091C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pic>
          <p:nvPicPr>
            <p:cNvPr id="142" name="Рисунок 141">
              <a:extLst>
                <a:ext uri="{FF2B5EF4-FFF2-40B4-BE49-F238E27FC236}">
                  <a16:creationId xmlns:a16="http://schemas.microsoft.com/office/drawing/2014/main" id="{256A7AD9-6DE4-4E71-BC4F-404191A791A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6760288" y="1802015"/>
              <a:ext cx="383462" cy="330367"/>
            </a:xfrm>
            <a:prstGeom prst="rect">
              <a:avLst/>
            </a:prstGeom>
          </p:spPr>
        </p:pic>
      </p:grpSp>
      <p:pic>
        <p:nvPicPr>
          <p:cNvPr id="161" name="Рисунок 160">
            <a:extLst>
              <a:ext uri="{FF2B5EF4-FFF2-40B4-BE49-F238E27FC236}">
                <a16:creationId xmlns:a16="http://schemas.microsoft.com/office/drawing/2014/main" id="{A80CFF51-D783-406E-9F57-E3B3EF6C814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967699" y="4629327"/>
            <a:ext cx="8065540" cy="649735"/>
          </a:xfrm>
          <a:prstGeom prst="rect">
            <a:avLst/>
          </a:prstGeom>
        </p:spPr>
      </p:pic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B12CFAA4-809F-4B47-9961-A26262A6C131}"/>
              </a:ext>
            </a:extLst>
          </p:cNvPr>
          <p:cNvGrpSpPr/>
          <p:nvPr/>
        </p:nvGrpSpPr>
        <p:grpSpPr>
          <a:xfrm>
            <a:off x="3436813" y="5214832"/>
            <a:ext cx="1014742" cy="890468"/>
            <a:chOff x="3436813" y="5214832"/>
            <a:chExt cx="1014742" cy="890468"/>
          </a:xfrm>
        </p:grpSpPr>
        <p:cxnSp>
          <p:nvCxnSpPr>
            <p:cNvPr id="180" name="Прямая соединительная линия 179">
              <a:extLst>
                <a:ext uri="{FF2B5EF4-FFF2-40B4-BE49-F238E27FC236}">
                  <a16:creationId xmlns:a16="http://schemas.microsoft.com/office/drawing/2014/main" id="{CF999148-06AB-433D-A584-0FC755EBFC0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4175107" y="5214832"/>
              <a:ext cx="276448" cy="185501"/>
            </a:xfrm>
            <a:prstGeom prst="line">
              <a:avLst/>
            </a:prstGeom>
            <a:ln w="12700">
              <a:solidFill>
                <a:schemeClr val="tx1">
                  <a:lumMod val="75000"/>
                  <a:lumOff val="25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672BAE78-6E04-4186-B1BB-F4EFA66C0C3E}"/>
                </a:ext>
              </a:extLst>
            </p:cNvPr>
            <p:cNvSpPr/>
            <p:nvPr/>
          </p:nvSpPr>
          <p:spPr>
            <a:xfrm>
              <a:off x="3436813" y="5262522"/>
              <a:ext cx="842778" cy="842778"/>
            </a:xfrm>
            <a:prstGeom prst="ellipse">
              <a:avLst/>
            </a:prstGeom>
            <a:solidFill>
              <a:schemeClr val="bg1">
                <a:lumMod val="50000"/>
              </a:schemeClr>
            </a:solidFill>
            <a:ln w="25400" cap="flat">
              <a:solidFill>
                <a:schemeClr val="bg1"/>
              </a:solidFill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/>
              <a:endParaRPr lang="ru-RU" sz="1200" dirty="0">
                <a:solidFill>
                  <a:srgbClr val="FFFFFF"/>
                </a:solidFill>
                <a:latin typeface="Roboto" pitchFamily="2" charset="0"/>
                <a:ea typeface="Roboto" pitchFamily="2" charset="0"/>
                <a:cs typeface="Poppins Bold"/>
              </a:endParaRPr>
            </a:p>
          </p:txBody>
        </p:sp>
        <p:cxnSp>
          <p:nvCxnSpPr>
            <p:cNvPr id="38" name="Соединитель: изогнутый 37">
              <a:extLst>
                <a:ext uri="{FF2B5EF4-FFF2-40B4-BE49-F238E27FC236}">
                  <a16:creationId xmlns:a16="http://schemas.microsoft.com/office/drawing/2014/main" id="{37E6881D-EA1B-4A98-86B2-A8C6548664F6}"/>
                </a:ext>
              </a:extLst>
            </p:cNvPr>
            <p:cNvCxnSpPr>
              <a:cxnSpLocks/>
            </p:cNvCxnSpPr>
            <p:nvPr/>
          </p:nvCxnSpPr>
          <p:spPr>
            <a:xfrm>
              <a:off x="3694787" y="5422499"/>
              <a:ext cx="332494" cy="285069"/>
            </a:xfrm>
            <a:prstGeom prst="curvedConnector3">
              <a:avLst/>
            </a:prstGeom>
            <a:ln w="15875">
              <a:solidFill>
                <a:schemeClr val="bg1"/>
              </a:solidFill>
              <a:prstDash val="dash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04" name="Прямая соединительная линия 103">
            <a:extLst>
              <a:ext uri="{FF2B5EF4-FFF2-40B4-BE49-F238E27FC236}">
                <a16:creationId xmlns:a16="http://schemas.microsoft.com/office/drawing/2014/main" id="{E7C53DE1-9244-4F71-9CBD-9D9355B1A22A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единительная линия 104">
            <a:extLst>
              <a:ext uri="{FF2B5EF4-FFF2-40B4-BE49-F238E27FC236}">
                <a16:creationId xmlns:a16="http://schemas.microsoft.com/office/drawing/2014/main" id="{19D235AF-D2B5-4F68-B279-5B443BD46A99}"/>
              </a:ext>
            </a:extLst>
          </p:cNvPr>
          <p:cNvCxnSpPr>
            <a:cxnSpLocks/>
          </p:cNvCxnSpPr>
          <p:nvPr/>
        </p:nvCxnSpPr>
        <p:spPr>
          <a:xfrm>
            <a:off x="1967699" y="1161039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5" name="Shape_фон">
            <a:extLst>
              <a:ext uri="{FF2B5EF4-FFF2-40B4-BE49-F238E27FC236}">
                <a16:creationId xmlns:a16="http://schemas.microsoft.com/office/drawing/2014/main" id="{44EA4C13-F0AC-4155-887F-D1C37FC4317E}"/>
              </a:ext>
            </a:extLst>
          </p:cNvPr>
          <p:cNvSpPr/>
          <p:nvPr/>
        </p:nvSpPr>
        <p:spPr>
          <a:xfrm>
            <a:off x="9601844" y="2240422"/>
            <a:ext cx="2244096" cy="2395022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117" name="Описание">
            <a:extLst>
              <a:ext uri="{FF2B5EF4-FFF2-40B4-BE49-F238E27FC236}">
                <a16:creationId xmlns:a16="http://schemas.microsoft.com/office/drawing/2014/main" id="{08244A40-A9E9-488E-8419-012E07C49546}"/>
              </a:ext>
            </a:extLst>
          </p:cNvPr>
          <p:cNvSpPr txBox="1"/>
          <p:nvPr/>
        </p:nvSpPr>
        <p:spPr>
          <a:xfrm>
            <a:off x="9846877" y="2390787"/>
            <a:ext cx="86594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Клиент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sp>
        <p:nvSpPr>
          <p:cNvPr id="118" name="Описание">
            <a:extLst>
              <a:ext uri="{FF2B5EF4-FFF2-40B4-BE49-F238E27FC236}">
                <a16:creationId xmlns:a16="http://schemas.microsoft.com/office/drawing/2014/main" id="{0010B312-7427-4017-A164-777F05CDE688}"/>
              </a:ext>
            </a:extLst>
          </p:cNvPr>
          <p:cNvSpPr txBox="1"/>
          <p:nvPr/>
        </p:nvSpPr>
        <p:spPr>
          <a:xfrm>
            <a:off x="10625909" y="2390787"/>
            <a:ext cx="1034257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Стадия 2</a:t>
            </a:r>
          </a:p>
        </p:txBody>
      </p:sp>
      <p:pic>
        <p:nvPicPr>
          <p:cNvPr id="106" name="Рисунок 105">
            <a:extLst>
              <a:ext uri="{FF2B5EF4-FFF2-40B4-BE49-F238E27FC236}">
                <a16:creationId xmlns:a16="http://schemas.microsoft.com/office/drawing/2014/main" id="{727954D6-D1BE-40ED-89F9-5FAD0A6F50D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rcRect r="58" b="39073"/>
          <a:stretch>
            <a:fillRect/>
          </a:stretch>
        </p:blipFill>
        <p:spPr>
          <a:xfrm>
            <a:off x="9953967" y="2745025"/>
            <a:ext cx="1553687" cy="1890122"/>
          </a:xfrm>
          <a:custGeom>
            <a:avLst/>
            <a:gdLst>
              <a:gd name="connsiteX0" fmla="*/ 0 w 1520740"/>
              <a:gd name="connsiteY0" fmla="*/ 0 h 1828795"/>
              <a:gd name="connsiteX1" fmla="*/ 1520740 w 1520740"/>
              <a:gd name="connsiteY1" fmla="*/ 0 h 1828795"/>
              <a:gd name="connsiteX2" fmla="*/ 1520740 w 1520740"/>
              <a:gd name="connsiteY2" fmla="*/ 1828795 h 1828795"/>
              <a:gd name="connsiteX3" fmla="*/ 0 w 1520740"/>
              <a:gd name="connsiteY3" fmla="*/ 1828795 h 18287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0740" h="1828795">
                <a:moveTo>
                  <a:pt x="0" y="0"/>
                </a:moveTo>
                <a:lnTo>
                  <a:pt x="1520740" y="0"/>
                </a:lnTo>
                <a:lnTo>
                  <a:pt x="1520740" y="1828795"/>
                </a:lnTo>
                <a:lnTo>
                  <a:pt x="0" y="1828795"/>
                </a:lnTo>
                <a:close/>
              </a:path>
            </a:pathLst>
          </a:custGeom>
        </p:spPr>
      </p:pic>
      <p:sp>
        <p:nvSpPr>
          <p:cNvPr id="175" name="Shape_фон">
            <a:extLst>
              <a:ext uri="{FF2B5EF4-FFF2-40B4-BE49-F238E27FC236}">
                <a16:creationId xmlns:a16="http://schemas.microsoft.com/office/drawing/2014/main" id="{0147CF7E-CF59-4959-9F4A-3C8B880A4372}"/>
              </a:ext>
            </a:extLst>
          </p:cNvPr>
          <p:cNvSpPr/>
          <p:nvPr/>
        </p:nvSpPr>
        <p:spPr>
          <a:xfrm>
            <a:off x="353680" y="2240422"/>
            <a:ext cx="2244096" cy="2394725"/>
          </a:xfrm>
          <a:prstGeom prst="roundRect">
            <a:avLst>
              <a:gd name="adj" fmla="val 8571"/>
            </a:avLst>
          </a:prstGeom>
          <a:solidFill>
            <a:schemeClr val="bg1"/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178" name="Описание">
            <a:extLst>
              <a:ext uri="{FF2B5EF4-FFF2-40B4-BE49-F238E27FC236}">
                <a16:creationId xmlns:a16="http://schemas.microsoft.com/office/drawing/2014/main" id="{06149A43-A74A-4A49-8CD0-095D2F5D9A78}"/>
              </a:ext>
            </a:extLst>
          </p:cNvPr>
          <p:cNvSpPr txBox="1"/>
          <p:nvPr/>
        </p:nvSpPr>
        <p:spPr>
          <a:xfrm>
            <a:off x="1045964" y="2358041"/>
            <a:ext cx="85953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srgbClr val="0D0D0D">
                    <a:lumMod val="75000"/>
                    <a:lumOff val="25000"/>
                  </a:srgbClr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+mn-cs"/>
              </a:rPr>
              <a:t>Бизнес</a:t>
            </a:r>
          </a:p>
        </p:txBody>
      </p:sp>
      <p:grpSp>
        <p:nvGrpSpPr>
          <p:cNvPr id="179" name="Группа 178">
            <a:extLst>
              <a:ext uri="{FF2B5EF4-FFF2-40B4-BE49-F238E27FC236}">
                <a16:creationId xmlns:a16="http://schemas.microsoft.com/office/drawing/2014/main" id="{D72A723E-C8FE-4F91-BEE1-BFA2E19333A3}"/>
              </a:ext>
            </a:extLst>
          </p:cNvPr>
          <p:cNvGrpSpPr/>
          <p:nvPr/>
        </p:nvGrpSpPr>
        <p:grpSpPr>
          <a:xfrm>
            <a:off x="187405" y="3791593"/>
            <a:ext cx="2671511" cy="835844"/>
            <a:chOff x="321083" y="3832985"/>
            <a:chExt cx="2671511" cy="835844"/>
          </a:xfrm>
        </p:grpSpPr>
        <p:sp>
          <p:nvSpPr>
            <p:cNvPr id="184" name="Shape_фон">
              <a:extLst>
                <a:ext uri="{FF2B5EF4-FFF2-40B4-BE49-F238E27FC236}">
                  <a16:creationId xmlns:a16="http://schemas.microsoft.com/office/drawing/2014/main" id="{F2869921-DB6D-4500-9F82-0B631B66EAD7}"/>
                </a:ext>
              </a:extLst>
            </p:cNvPr>
            <p:cNvSpPr/>
            <p:nvPr/>
          </p:nvSpPr>
          <p:spPr>
            <a:xfrm>
              <a:off x="321083" y="3832985"/>
              <a:ext cx="2671511" cy="8358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85" name="Группа 184">
              <a:extLst>
                <a:ext uri="{FF2B5EF4-FFF2-40B4-BE49-F238E27FC236}">
                  <a16:creationId xmlns:a16="http://schemas.microsoft.com/office/drawing/2014/main" id="{9CF81B98-E653-4E59-84F3-9433741E3652}"/>
                </a:ext>
              </a:extLst>
            </p:cNvPr>
            <p:cNvGrpSpPr/>
            <p:nvPr/>
          </p:nvGrpSpPr>
          <p:grpSpPr>
            <a:xfrm>
              <a:off x="1231531" y="4066081"/>
              <a:ext cx="858237" cy="468563"/>
              <a:chOff x="1299037" y="3101526"/>
              <a:chExt cx="1118376" cy="610588"/>
            </a:xfrm>
          </p:grpSpPr>
          <p:pic>
            <p:nvPicPr>
              <p:cNvPr id="198" name="Рисунок 197">
                <a:extLst>
                  <a:ext uri="{FF2B5EF4-FFF2-40B4-BE49-F238E27FC236}">
                    <a16:creationId xmlns:a16="http://schemas.microsoft.com/office/drawing/2014/main" id="{6E998A94-5BC9-401F-BDB3-0B89F13AB9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1299037" y="3101526"/>
                <a:ext cx="1089430" cy="610588"/>
              </a:xfrm>
              <a:prstGeom prst="rect">
                <a:avLst/>
              </a:prstGeom>
            </p:spPr>
          </p:pic>
          <p:sp>
            <p:nvSpPr>
              <p:cNvPr id="199" name="Описание">
                <a:extLst>
                  <a:ext uri="{FF2B5EF4-FFF2-40B4-BE49-F238E27FC236}">
                    <a16:creationId xmlns:a16="http://schemas.microsoft.com/office/drawing/2014/main" id="{25CBF1D8-3A10-475C-AF38-68E334712DD9}"/>
                  </a:ext>
                </a:extLst>
              </p:cNvPr>
              <p:cNvSpPr txBox="1"/>
              <p:nvPr/>
            </p:nvSpPr>
            <p:spPr>
              <a:xfrm>
                <a:off x="1857173" y="3107105"/>
                <a:ext cx="560240" cy="3409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SIM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86" name="Группа 185">
              <a:extLst>
                <a:ext uri="{FF2B5EF4-FFF2-40B4-BE49-F238E27FC236}">
                  <a16:creationId xmlns:a16="http://schemas.microsoft.com/office/drawing/2014/main" id="{C5B5A355-A3B1-42FA-86E0-12392FD5BDB6}"/>
                </a:ext>
              </a:extLst>
            </p:cNvPr>
            <p:cNvGrpSpPr/>
            <p:nvPr/>
          </p:nvGrpSpPr>
          <p:grpSpPr>
            <a:xfrm>
              <a:off x="487005" y="4071136"/>
              <a:ext cx="721309" cy="474239"/>
              <a:chOff x="617365" y="3855765"/>
              <a:chExt cx="1081377" cy="710972"/>
            </a:xfrm>
          </p:grpSpPr>
          <p:pic>
            <p:nvPicPr>
              <p:cNvPr id="196" name="Рисунок 195">
                <a:extLst>
                  <a:ext uri="{FF2B5EF4-FFF2-40B4-BE49-F238E27FC236}">
                    <a16:creationId xmlns:a16="http://schemas.microsoft.com/office/drawing/2014/main" id="{C1641EE1-2CE4-4D4C-8DB0-0C53C3B705D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637540" y="3855765"/>
                <a:ext cx="1061202" cy="649810"/>
              </a:xfrm>
              <a:prstGeom prst="rect">
                <a:avLst/>
              </a:prstGeom>
            </p:spPr>
          </p:pic>
          <p:sp>
            <p:nvSpPr>
              <p:cNvPr id="197" name="Описание">
                <a:extLst>
                  <a:ext uri="{FF2B5EF4-FFF2-40B4-BE49-F238E27FC236}">
                    <a16:creationId xmlns:a16="http://schemas.microsoft.com/office/drawing/2014/main" id="{F8072D52-007B-4D76-A35D-7AC994D464A9}"/>
                  </a:ext>
                </a:extLst>
              </p:cNvPr>
              <p:cNvSpPr txBox="1"/>
              <p:nvPr/>
            </p:nvSpPr>
            <p:spPr>
              <a:xfrm>
                <a:off x="617365" y="4174535"/>
                <a:ext cx="819973" cy="3922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ARD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87" name="Группа 186">
              <a:extLst>
                <a:ext uri="{FF2B5EF4-FFF2-40B4-BE49-F238E27FC236}">
                  <a16:creationId xmlns:a16="http://schemas.microsoft.com/office/drawing/2014/main" id="{194A5D7A-AEC2-4BE8-91D0-16CB8AA74875}"/>
                </a:ext>
              </a:extLst>
            </p:cNvPr>
            <p:cNvGrpSpPr/>
            <p:nvPr/>
          </p:nvGrpSpPr>
          <p:grpSpPr>
            <a:xfrm>
              <a:off x="2209935" y="4026294"/>
              <a:ext cx="606419" cy="502270"/>
              <a:chOff x="5418342" y="2035427"/>
              <a:chExt cx="909135" cy="752996"/>
            </a:xfrm>
          </p:grpSpPr>
          <p:pic>
            <p:nvPicPr>
              <p:cNvPr id="188" name="Рисунок 187">
                <a:extLst>
                  <a:ext uri="{FF2B5EF4-FFF2-40B4-BE49-F238E27FC236}">
                    <a16:creationId xmlns:a16="http://schemas.microsoft.com/office/drawing/2014/main" id="{C18ED102-EAC7-4754-A30E-36028A8B34E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3383" y="2035427"/>
                <a:ext cx="614094" cy="752996"/>
              </a:xfrm>
              <a:prstGeom prst="rect">
                <a:avLst/>
              </a:prstGeom>
            </p:spPr>
          </p:pic>
          <p:grpSp>
            <p:nvGrpSpPr>
              <p:cNvPr id="189" name="Группа 188">
                <a:extLst>
                  <a:ext uri="{FF2B5EF4-FFF2-40B4-BE49-F238E27FC236}">
                    <a16:creationId xmlns:a16="http://schemas.microsoft.com/office/drawing/2014/main" id="{6EBEC82C-3402-4418-AEF3-C81924038274}"/>
                  </a:ext>
                </a:extLst>
              </p:cNvPr>
              <p:cNvGrpSpPr/>
              <p:nvPr/>
            </p:nvGrpSpPr>
            <p:grpSpPr>
              <a:xfrm>
                <a:off x="5418342" y="2083431"/>
                <a:ext cx="673376" cy="690804"/>
                <a:chOff x="504301" y="2908240"/>
                <a:chExt cx="781089" cy="801306"/>
              </a:xfrm>
            </p:grpSpPr>
            <p:grpSp>
              <p:nvGrpSpPr>
                <p:cNvPr id="190" name="Рисунок 149">
                  <a:extLst>
                    <a:ext uri="{FF2B5EF4-FFF2-40B4-BE49-F238E27FC236}">
                      <a16:creationId xmlns:a16="http://schemas.microsoft.com/office/drawing/2014/main" id="{F2DA65E2-F31C-4CCD-A562-4AB1905B96BF}"/>
                    </a:ext>
                  </a:extLst>
                </p:cNvPr>
                <p:cNvGrpSpPr/>
                <p:nvPr/>
              </p:nvGrpSpPr>
              <p:grpSpPr>
                <a:xfrm>
                  <a:off x="604343" y="2908240"/>
                  <a:ext cx="613028" cy="801306"/>
                  <a:chOff x="703210" y="3059703"/>
                  <a:chExt cx="613028" cy="801306"/>
                </a:xfrm>
              </p:grpSpPr>
              <p:sp>
                <p:nvSpPr>
                  <p:cNvPr id="192" name="Полилиния: фигура 191">
                    <a:extLst>
                      <a:ext uri="{FF2B5EF4-FFF2-40B4-BE49-F238E27FC236}">
                        <a16:creationId xmlns:a16="http://schemas.microsoft.com/office/drawing/2014/main" id="{8C2FC571-6B9C-4AE6-A65C-FD310DA997E4}"/>
                      </a:ext>
                    </a:extLst>
                  </p:cNvPr>
                  <p:cNvSpPr/>
                  <p:nvPr/>
                </p:nvSpPr>
                <p:spPr>
                  <a:xfrm>
                    <a:off x="703211" y="3059703"/>
                    <a:ext cx="612930" cy="801306"/>
                  </a:xfrm>
                  <a:custGeom>
                    <a:avLst/>
                    <a:gdLst>
                      <a:gd name="connsiteX0" fmla="*/ 551569 w 612930"/>
                      <a:gd name="connsiteY0" fmla="*/ 801209 h 801306"/>
                      <a:gd name="connsiteX1" fmla="*/ 61361 w 612930"/>
                      <a:gd name="connsiteY1" fmla="*/ 801209 h 801306"/>
                      <a:gd name="connsiteX2" fmla="*/ 0 w 612930"/>
                      <a:gd name="connsiteY2" fmla="*/ 739848 h 801306"/>
                      <a:gd name="connsiteX3" fmla="*/ 0 w 612930"/>
                      <a:gd name="connsiteY3" fmla="*/ 61361 h 801306"/>
                      <a:gd name="connsiteX4" fmla="*/ 61361 w 612930"/>
                      <a:gd name="connsiteY4" fmla="*/ 0 h 801306"/>
                      <a:gd name="connsiteX5" fmla="*/ 372265 w 612930"/>
                      <a:gd name="connsiteY5" fmla="*/ 0 h 801306"/>
                      <a:gd name="connsiteX6" fmla="*/ 612931 w 612930"/>
                      <a:gd name="connsiteY6" fmla="*/ 248079 h 801306"/>
                      <a:gd name="connsiteX7" fmla="*/ 612931 w 612930"/>
                      <a:gd name="connsiteY7" fmla="*/ 739945 h 801306"/>
                      <a:gd name="connsiteX8" fmla="*/ 551569 w 612930"/>
                      <a:gd name="connsiteY8" fmla="*/ 801307 h 801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801306">
                        <a:moveTo>
                          <a:pt x="551569" y="801209"/>
                        </a:moveTo>
                        <a:lnTo>
                          <a:pt x="61361" y="801209"/>
                        </a:lnTo>
                        <a:cubicBezTo>
                          <a:pt x="27510" y="801209"/>
                          <a:pt x="0" y="773699"/>
                          <a:pt x="0" y="739848"/>
                        </a:cubicBezTo>
                        <a:lnTo>
                          <a:pt x="0" y="61361"/>
                        </a:lnTo>
                        <a:cubicBezTo>
                          <a:pt x="0" y="27510"/>
                          <a:pt x="27510" y="0"/>
                          <a:pt x="61361" y="0"/>
                        </a:cubicBezTo>
                        <a:lnTo>
                          <a:pt x="372265" y="0"/>
                        </a:lnTo>
                        <a:lnTo>
                          <a:pt x="612931" y="248079"/>
                        </a:lnTo>
                        <a:lnTo>
                          <a:pt x="612931" y="739945"/>
                        </a:lnTo>
                        <a:cubicBezTo>
                          <a:pt x="612931" y="773797"/>
                          <a:pt x="585420" y="801307"/>
                          <a:pt x="551569" y="801307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93" name="Полилиния: фигура 192">
                    <a:extLst>
                      <a:ext uri="{FF2B5EF4-FFF2-40B4-BE49-F238E27FC236}">
                        <a16:creationId xmlns:a16="http://schemas.microsoft.com/office/drawing/2014/main" id="{BF8AF8D3-77D4-4854-9EF7-DAAE3A158C7F}"/>
                      </a:ext>
                    </a:extLst>
                  </p:cNvPr>
                  <p:cNvSpPr/>
                  <p:nvPr/>
                </p:nvSpPr>
                <p:spPr>
                  <a:xfrm>
                    <a:off x="703210" y="3617810"/>
                    <a:ext cx="612928" cy="243104"/>
                  </a:xfrm>
                  <a:custGeom>
                    <a:avLst/>
                    <a:gdLst>
                      <a:gd name="connsiteX0" fmla="*/ 12097 w 612930"/>
                      <a:gd name="connsiteY0" fmla="*/ 0 h 243104"/>
                      <a:gd name="connsiteX1" fmla="*/ 600834 w 612930"/>
                      <a:gd name="connsiteY1" fmla="*/ 0 h 243104"/>
                      <a:gd name="connsiteX2" fmla="*/ 612931 w 612930"/>
                      <a:gd name="connsiteY2" fmla="*/ 12097 h 243104"/>
                      <a:gd name="connsiteX3" fmla="*/ 612931 w 612930"/>
                      <a:gd name="connsiteY3" fmla="*/ 179889 h 243104"/>
                      <a:gd name="connsiteX4" fmla="*/ 549716 w 612930"/>
                      <a:gd name="connsiteY4" fmla="*/ 243104 h 243104"/>
                      <a:gd name="connsiteX5" fmla="*/ 63215 w 612930"/>
                      <a:gd name="connsiteY5" fmla="*/ 243104 h 243104"/>
                      <a:gd name="connsiteX6" fmla="*/ 0 w 612930"/>
                      <a:gd name="connsiteY6" fmla="*/ 179889 h 243104"/>
                      <a:gd name="connsiteX7" fmla="*/ 0 w 612930"/>
                      <a:gd name="connsiteY7" fmla="*/ 12097 h 243104"/>
                      <a:gd name="connsiteX8" fmla="*/ 12097 w 612930"/>
                      <a:gd name="connsiteY8" fmla="*/ 0 h 24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243104">
                        <a:moveTo>
                          <a:pt x="12097" y="0"/>
                        </a:moveTo>
                        <a:lnTo>
                          <a:pt x="600834" y="0"/>
                        </a:lnTo>
                        <a:cubicBezTo>
                          <a:pt x="607468" y="0"/>
                          <a:pt x="612931" y="5463"/>
                          <a:pt x="612931" y="12097"/>
                        </a:cubicBezTo>
                        <a:lnTo>
                          <a:pt x="612931" y="179889"/>
                        </a:lnTo>
                        <a:cubicBezTo>
                          <a:pt x="612931" y="214813"/>
                          <a:pt x="584640" y="243104"/>
                          <a:pt x="549716" y="243104"/>
                        </a:cubicBezTo>
                        <a:lnTo>
                          <a:pt x="63215" y="243104"/>
                        </a:lnTo>
                        <a:cubicBezTo>
                          <a:pt x="28291" y="243104"/>
                          <a:pt x="0" y="214813"/>
                          <a:pt x="0" y="179889"/>
                        </a:cubicBezTo>
                        <a:lnTo>
                          <a:pt x="0" y="12097"/>
                        </a:lnTo>
                        <a:cubicBezTo>
                          <a:pt x="0" y="5463"/>
                          <a:pt x="5463" y="0"/>
                          <a:pt x="12097" y="0"/>
                        </a:cubicBezTo>
                        <a:close/>
                      </a:path>
                    </a:pathLst>
                  </a:custGeom>
                  <a:solidFill>
                    <a:srgbClr val="7C2323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94" name="Полилиния: фигура 193">
                    <a:extLst>
                      <a:ext uri="{FF2B5EF4-FFF2-40B4-BE49-F238E27FC236}">
                        <a16:creationId xmlns:a16="http://schemas.microsoft.com/office/drawing/2014/main" id="{C41199BF-1134-4451-864C-EEBE8B812B82}"/>
                      </a:ext>
                    </a:extLst>
                  </p:cNvPr>
                  <p:cNvSpPr/>
                  <p:nvPr/>
                </p:nvSpPr>
                <p:spPr>
                  <a:xfrm>
                    <a:off x="1075476" y="3059703"/>
                    <a:ext cx="240665" cy="248079"/>
                  </a:xfrm>
                  <a:custGeom>
                    <a:avLst/>
                    <a:gdLst>
                      <a:gd name="connsiteX0" fmla="*/ 0 w 240665"/>
                      <a:gd name="connsiteY0" fmla="*/ 0 h 248079"/>
                      <a:gd name="connsiteX1" fmla="*/ 0 w 240665"/>
                      <a:gd name="connsiteY1" fmla="*/ 191010 h 248079"/>
                      <a:gd name="connsiteX2" fmla="*/ 57069 w 240665"/>
                      <a:gd name="connsiteY2" fmla="*/ 248079 h 248079"/>
                      <a:gd name="connsiteX3" fmla="*/ 240665 w 240665"/>
                      <a:gd name="connsiteY3" fmla="*/ 248079 h 248079"/>
                      <a:gd name="connsiteX4" fmla="*/ 0 w 240665"/>
                      <a:gd name="connsiteY4" fmla="*/ 0 h 2480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0665" h="248079">
                        <a:moveTo>
                          <a:pt x="0" y="0"/>
                        </a:moveTo>
                        <a:lnTo>
                          <a:pt x="0" y="191010"/>
                        </a:lnTo>
                        <a:cubicBezTo>
                          <a:pt x="0" y="222520"/>
                          <a:pt x="25559" y="248079"/>
                          <a:pt x="57069" y="248079"/>
                        </a:cubicBezTo>
                        <a:lnTo>
                          <a:pt x="240665" y="248079"/>
                        </a:lnTo>
                        <a:cubicBezTo>
                          <a:pt x="240665" y="248079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95" name="Полилиния: фигура 194">
                    <a:extLst>
                      <a:ext uri="{FF2B5EF4-FFF2-40B4-BE49-F238E27FC236}">
                        <a16:creationId xmlns:a16="http://schemas.microsoft.com/office/drawing/2014/main" id="{71A73D15-06F0-43CF-8C43-42ED6AF5A172}"/>
                      </a:ext>
                    </a:extLst>
                  </p:cNvPr>
                  <p:cNvSpPr/>
                  <p:nvPr/>
                </p:nvSpPr>
                <p:spPr>
                  <a:xfrm>
                    <a:off x="1077995" y="3267395"/>
                    <a:ext cx="238243" cy="92019"/>
                  </a:xfrm>
                  <a:custGeom>
                    <a:avLst/>
                    <a:gdLst>
                      <a:gd name="connsiteX0" fmla="*/ 17 w 238243"/>
                      <a:gd name="connsiteY0" fmla="*/ 0 h 92019"/>
                      <a:gd name="connsiteX1" fmla="*/ 50355 w 238243"/>
                      <a:gd name="connsiteY1" fmla="*/ 61556 h 92019"/>
                      <a:gd name="connsiteX2" fmla="*/ 56404 w 238243"/>
                      <a:gd name="connsiteY2" fmla="*/ 62922 h 92019"/>
                      <a:gd name="connsiteX3" fmla="*/ 238244 w 238243"/>
                      <a:gd name="connsiteY3" fmla="*/ 91701 h 92019"/>
                      <a:gd name="connsiteX4" fmla="*/ 238244 w 238243"/>
                      <a:gd name="connsiteY4" fmla="*/ 40387 h 92019"/>
                      <a:gd name="connsiteX5" fmla="*/ 54648 w 238243"/>
                      <a:gd name="connsiteY5" fmla="*/ 40387 h 92019"/>
                      <a:gd name="connsiteX6" fmla="*/ 115 w 238243"/>
                      <a:gd name="connsiteY6" fmla="*/ 98 h 92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8243" h="92019">
                        <a:moveTo>
                          <a:pt x="17" y="0"/>
                        </a:moveTo>
                        <a:cubicBezTo>
                          <a:pt x="17" y="0"/>
                          <a:pt x="-2421" y="46338"/>
                          <a:pt x="50355" y="61556"/>
                        </a:cubicBezTo>
                        <a:cubicBezTo>
                          <a:pt x="52306" y="62142"/>
                          <a:pt x="54355" y="62532"/>
                          <a:pt x="56404" y="62922"/>
                        </a:cubicBezTo>
                        <a:cubicBezTo>
                          <a:pt x="80402" y="67215"/>
                          <a:pt x="238244" y="95310"/>
                          <a:pt x="238244" y="91701"/>
                        </a:cubicBezTo>
                        <a:lnTo>
                          <a:pt x="238244" y="40387"/>
                        </a:lnTo>
                        <a:lnTo>
                          <a:pt x="54648" y="40387"/>
                        </a:lnTo>
                        <a:cubicBezTo>
                          <a:pt x="54648" y="40387"/>
                          <a:pt x="8797" y="38826"/>
                          <a:pt x="115" y="98"/>
                        </a:cubicBezTo>
                        <a:close/>
                      </a:path>
                    </a:pathLst>
                  </a:custGeom>
                  <a:solidFill>
                    <a:srgbClr val="C00000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91" name="Описание">
                  <a:extLst>
                    <a:ext uri="{FF2B5EF4-FFF2-40B4-BE49-F238E27FC236}">
                      <a16:creationId xmlns:a16="http://schemas.microsoft.com/office/drawing/2014/main" id="{96CED4E0-3EAE-42C0-A794-D51F65C5C359}"/>
                    </a:ext>
                  </a:extLst>
                </p:cNvPr>
                <p:cNvSpPr txBox="1"/>
                <p:nvPr/>
              </p:nvSpPr>
              <p:spPr>
                <a:xfrm>
                  <a:off x="504301" y="3181235"/>
                  <a:ext cx="781089" cy="3211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ОЛИС</a:t>
                  </a:r>
                  <a:endPara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</p:grpSp>
      </p:grpSp>
      <p:pic>
        <p:nvPicPr>
          <p:cNvPr id="200" name="Рисунок 199">
            <a:extLst>
              <a:ext uri="{FF2B5EF4-FFF2-40B4-BE49-F238E27FC236}">
                <a16:creationId xmlns:a16="http://schemas.microsoft.com/office/drawing/2014/main" id="{A3C50102-BFD6-4BF6-AE08-D4647AF0CDFC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 rot="20939646">
            <a:off x="1009014" y="2794890"/>
            <a:ext cx="914830" cy="856746"/>
          </a:xfrm>
          <a:prstGeom prst="rect">
            <a:avLst/>
          </a:prstGeom>
        </p:spPr>
      </p:pic>
      <p:grpSp>
        <p:nvGrpSpPr>
          <p:cNvPr id="107" name="Group 2048">
            <a:extLst>
              <a:ext uri="{FF2B5EF4-FFF2-40B4-BE49-F238E27FC236}">
                <a16:creationId xmlns:a16="http://schemas.microsoft.com/office/drawing/2014/main" id="{8E193BE8-568C-4E37-8F23-9843C063082F}"/>
              </a:ext>
            </a:extLst>
          </p:cNvPr>
          <p:cNvGrpSpPr/>
          <p:nvPr/>
        </p:nvGrpSpPr>
        <p:grpSpPr>
          <a:xfrm rot="16200000">
            <a:off x="5836540" y="1240356"/>
            <a:ext cx="252432" cy="220634"/>
            <a:chOff x="8227651" y="2789818"/>
            <a:chExt cx="252465" cy="220663"/>
          </a:xfrm>
        </p:grpSpPr>
        <p:sp>
          <p:nvSpPr>
            <p:cNvPr id="114" name="Freeform 23">
              <a:extLst>
                <a:ext uri="{FF2B5EF4-FFF2-40B4-BE49-F238E27FC236}">
                  <a16:creationId xmlns:a16="http://schemas.microsoft.com/office/drawing/2014/main" id="{04298E40-856F-4862-AFD9-96BD74DC8D0A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16" name="Freeform 24">
              <a:extLst>
                <a:ext uri="{FF2B5EF4-FFF2-40B4-BE49-F238E27FC236}">
                  <a16:creationId xmlns:a16="http://schemas.microsoft.com/office/drawing/2014/main" id="{0B4A83D3-FAF9-49DA-AA1F-4A1C6F00A363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sp>
        <p:nvSpPr>
          <p:cNvPr id="119" name="Описание">
            <a:extLst>
              <a:ext uri="{FF2B5EF4-FFF2-40B4-BE49-F238E27FC236}">
                <a16:creationId xmlns:a16="http://schemas.microsoft.com/office/drawing/2014/main" id="{F173BC7B-9BD0-4025-8293-44ABB76D28DB}"/>
              </a:ext>
            </a:extLst>
          </p:cNvPr>
          <p:cNvSpPr txBox="1"/>
          <p:nvPr/>
        </p:nvSpPr>
        <p:spPr>
          <a:xfrm>
            <a:off x="3474122" y="5729459"/>
            <a:ext cx="768159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50" dirty="0">
                <a:solidFill>
                  <a:schemeClr val="bg1"/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тропинка</a:t>
            </a:r>
            <a:endParaRPr kumimoji="0" lang="ru-RU" sz="105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1105224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7C82FA1D-4C7E-4B28-A619-5F2C84FFC198}"/>
              </a:ext>
            </a:extLst>
          </p:cNvPr>
          <p:cNvGrpSpPr/>
          <p:nvPr/>
        </p:nvGrpSpPr>
        <p:grpSpPr>
          <a:xfrm>
            <a:off x="1225283" y="1717853"/>
            <a:ext cx="9708924" cy="1143115"/>
            <a:chOff x="1225283" y="1717853"/>
            <a:chExt cx="9708924" cy="1143115"/>
          </a:xfrm>
        </p:grpSpPr>
        <p:cxnSp>
          <p:nvCxnSpPr>
            <p:cNvPr id="135" name="Прямая соединительная линия 134">
              <a:extLst>
                <a:ext uri="{FF2B5EF4-FFF2-40B4-BE49-F238E27FC236}">
                  <a16:creationId xmlns:a16="http://schemas.microsoft.com/office/drawing/2014/main" id="{007EF1C9-9F44-4E24-89A9-384E31A92FEB}"/>
                </a:ext>
              </a:extLst>
            </p:cNvPr>
            <p:cNvCxnSpPr>
              <a:cxnSpLocks/>
              <a:stCxn id="105" idx="1"/>
              <a:endCxn id="97" idx="3"/>
            </p:cNvCxnSpPr>
            <p:nvPr/>
          </p:nvCxnSpPr>
          <p:spPr>
            <a:xfrm flipH="1">
              <a:off x="3477643" y="2289411"/>
              <a:ext cx="5204204" cy="0"/>
            </a:xfrm>
            <a:prstGeom prst="line">
              <a:avLst/>
            </a:prstGeom>
            <a:ln w="28575">
              <a:solidFill>
                <a:srgbClr val="FF0000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7" name="Shape_фон">
              <a:extLst>
                <a:ext uri="{FF2B5EF4-FFF2-40B4-BE49-F238E27FC236}">
                  <a16:creationId xmlns:a16="http://schemas.microsoft.com/office/drawing/2014/main" id="{4DEFDE77-596E-454E-A0EC-5D7463F2F03A}"/>
                </a:ext>
              </a:extLst>
            </p:cNvPr>
            <p:cNvSpPr/>
            <p:nvPr/>
          </p:nvSpPr>
          <p:spPr>
            <a:xfrm>
              <a:off x="1225283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4" name="Shape_фон">
              <a:extLst>
                <a:ext uri="{FF2B5EF4-FFF2-40B4-BE49-F238E27FC236}">
                  <a16:creationId xmlns:a16="http://schemas.microsoft.com/office/drawing/2014/main" id="{C4899F67-04D5-415D-A662-4DE6ECE1162A}"/>
                </a:ext>
              </a:extLst>
            </p:cNvPr>
            <p:cNvSpPr/>
            <p:nvPr/>
          </p:nvSpPr>
          <p:spPr>
            <a:xfrm>
              <a:off x="4969820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>
                <a:defRPr/>
              </a:pPr>
              <a:endPara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5" name="Shape_фон">
              <a:extLst>
                <a:ext uri="{FF2B5EF4-FFF2-40B4-BE49-F238E27FC236}">
                  <a16:creationId xmlns:a16="http://schemas.microsoft.com/office/drawing/2014/main" id="{8301D96C-7D03-4E49-9737-5385FDAD5FCF}"/>
                </a:ext>
              </a:extLst>
            </p:cNvPr>
            <p:cNvSpPr/>
            <p:nvPr/>
          </p:nvSpPr>
          <p:spPr>
            <a:xfrm>
              <a:off x="8681847" y="1717853"/>
              <a:ext cx="2252360" cy="114311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algn="ctr" defTabSz="309563" hangingPunct="0">
                <a:defRPr/>
              </a:pPr>
              <a:endParaRPr kumimoji="0" lang="en-US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4" name="Motion design">
              <a:extLst>
                <a:ext uri="{FF2B5EF4-FFF2-40B4-BE49-F238E27FC236}">
                  <a16:creationId xmlns:a16="http://schemas.microsoft.com/office/drawing/2014/main" id="{B0E8BB8E-C2B7-45DF-A24A-1695587BCF53}"/>
                </a:ext>
              </a:extLst>
            </p:cNvPr>
            <p:cNvSpPr txBox="1"/>
            <p:nvPr/>
          </p:nvSpPr>
          <p:spPr>
            <a:xfrm>
              <a:off x="1528519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С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Customer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45" name="Motion design">
              <a:extLst>
                <a:ext uri="{FF2B5EF4-FFF2-40B4-BE49-F238E27FC236}">
                  <a16:creationId xmlns:a16="http://schemas.microsoft.com/office/drawing/2014/main" id="{BFCC3563-CD1E-4F01-95DA-9EC4DD4EA824}"/>
                </a:ext>
              </a:extLst>
            </p:cNvPr>
            <p:cNvSpPr txBox="1"/>
            <p:nvPr/>
          </p:nvSpPr>
          <p:spPr>
            <a:xfrm>
              <a:off x="5273056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lang="en-US" sz="6000" b="1" dirty="0">
                  <a:solidFill>
                    <a:schemeClr val="bg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D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Data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46" name="Motion design">
              <a:extLst>
                <a:ext uri="{FF2B5EF4-FFF2-40B4-BE49-F238E27FC236}">
                  <a16:creationId xmlns:a16="http://schemas.microsoft.com/office/drawing/2014/main" id="{F8BE74FF-D34C-425A-B6BD-57309649F300}"/>
                </a:ext>
              </a:extLst>
            </p:cNvPr>
            <p:cNvSpPr txBox="1"/>
            <p:nvPr/>
          </p:nvSpPr>
          <p:spPr>
            <a:xfrm>
              <a:off x="8985083" y="1956699"/>
              <a:ext cx="1645888" cy="804323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lnSpc>
                  <a:spcPct val="70000"/>
                </a:lnSpc>
                <a:defRPr/>
              </a:pPr>
              <a:r>
                <a:rPr lang="en-US" sz="6000" b="1" dirty="0">
                  <a:solidFill>
                    <a:schemeClr val="bg2"/>
                  </a:solidFill>
                  <a:latin typeface="Roboto" pitchFamily="2" charset="0"/>
                  <a:ea typeface="Roboto" pitchFamily="2" charset="0"/>
                  <a:cs typeface="Poppins Bold"/>
                  <a:sym typeface="Poppins Bold"/>
                </a:rPr>
                <a:t>I</a:t>
              </a:r>
              <a:endParaRPr lang="en-US" sz="6000" dirty="0">
                <a:solidFill>
                  <a:srgbClr val="0D0D0D"/>
                </a:solidFill>
                <a:latin typeface="Roboto" pitchFamily="2" charset="0"/>
                <a:ea typeface="Roboto" pitchFamily="2" charset="0"/>
                <a:cs typeface="Poppins SemiBold"/>
              </a:endParaRPr>
            </a:p>
            <a:p>
              <a:pPr marL="0" marR="0" lvl="0" indent="0" algn="ctr" defTabSz="309563" rtl="0" eaLnBrk="1" fontAlgn="auto" latinLnBrk="0" hangingPunct="0">
                <a:lnSpc>
                  <a:spcPct val="70000"/>
                </a:lnSpc>
                <a:buClrTx/>
                <a:buSzTx/>
                <a:buFontTx/>
                <a:buNone/>
                <a:tabLst/>
                <a:defRPr/>
              </a:pPr>
              <a:r>
                <a:rPr lang="en-US" sz="1400" b="1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Integration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</p:grpSp>
      <p:grpSp>
        <p:nvGrpSpPr>
          <p:cNvPr id="112" name="Группа 111">
            <a:extLst>
              <a:ext uri="{FF2B5EF4-FFF2-40B4-BE49-F238E27FC236}">
                <a16:creationId xmlns:a16="http://schemas.microsoft.com/office/drawing/2014/main" id="{B4044FA7-B5DC-4F34-BC86-9333EA4483A1}"/>
              </a:ext>
            </a:extLst>
          </p:cNvPr>
          <p:cNvGrpSpPr/>
          <p:nvPr/>
        </p:nvGrpSpPr>
        <p:grpSpPr>
          <a:xfrm>
            <a:off x="6286722" y="4122377"/>
            <a:ext cx="2270274" cy="1557497"/>
            <a:chOff x="4811099" y="2878512"/>
            <a:chExt cx="2270274" cy="1557497"/>
          </a:xfrm>
          <a:solidFill>
            <a:schemeClr val="bg1">
              <a:alpha val="0"/>
            </a:schemeClr>
          </a:solidFill>
        </p:grpSpPr>
        <p:sp>
          <p:nvSpPr>
            <p:cNvPr id="114" name="Freeform 16">
              <a:extLst>
                <a:ext uri="{FF2B5EF4-FFF2-40B4-BE49-F238E27FC236}">
                  <a16:creationId xmlns:a16="http://schemas.microsoft.com/office/drawing/2014/main" id="{88BCE2AB-E414-4158-8609-975239020C94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5" name="Freeform 19">
              <a:extLst>
                <a:ext uri="{FF2B5EF4-FFF2-40B4-BE49-F238E27FC236}">
                  <a16:creationId xmlns:a16="http://schemas.microsoft.com/office/drawing/2014/main" id="{32489C9B-148D-47E0-818D-58B0130AC5D7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C8B104B6-7995-43F0-8B52-5471129219DF}"/>
              </a:ext>
            </a:extLst>
          </p:cNvPr>
          <p:cNvGrpSpPr/>
          <p:nvPr/>
        </p:nvGrpSpPr>
        <p:grpSpPr>
          <a:xfrm>
            <a:off x="3207322" y="3255739"/>
            <a:ext cx="1798435" cy="1842895"/>
            <a:chOff x="4828309" y="2330663"/>
            <a:chExt cx="1798435" cy="1842895"/>
          </a:xfrm>
          <a:solidFill>
            <a:schemeClr val="bg1">
              <a:alpha val="0"/>
            </a:schemeClr>
          </a:solidFill>
        </p:grpSpPr>
        <p:sp>
          <p:nvSpPr>
            <p:cNvPr id="84" name="Freeform 17">
              <a:extLst>
                <a:ext uri="{FF2B5EF4-FFF2-40B4-BE49-F238E27FC236}">
                  <a16:creationId xmlns:a16="http://schemas.microsoft.com/office/drawing/2014/main" id="{6573DF61-3067-42D3-A60A-8F2A20D6DF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18">
              <a:extLst>
                <a:ext uri="{FF2B5EF4-FFF2-40B4-BE49-F238E27FC236}">
                  <a16:creationId xmlns:a16="http://schemas.microsoft.com/office/drawing/2014/main" id="{BCC8650B-333A-45F9-9D0D-B6424576A54D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3" name="Группа 112">
            <a:extLst>
              <a:ext uri="{FF2B5EF4-FFF2-40B4-BE49-F238E27FC236}">
                <a16:creationId xmlns:a16="http://schemas.microsoft.com/office/drawing/2014/main" id="{0F499B31-5EFA-44A9-980B-21854C661A89}"/>
              </a:ext>
            </a:extLst>
          </p:cNvPr>
          <p:cNvGrpSpPr/>
          <p:nvPr/>
        </p:nvGrpSpPr>
        <p:grpSpPr>
          <a:xfrm>
            <a:off x="4953565" y="5256572"/>
            <a:ext cx="2252360" cy="377702"/>
            <a:chOff x="6510195" y="1556711"/>
            <a:chExt cx="5051622" cy="847113"/>
          </a:xfrm>
        </p:grpSpPr>
        <p:sp>
          <p:nvSpPr>
            <p:cNvPr id="119" name="Rounded Rectangle">
              <a:extLst>
                <a:ext uri="{FF2B5EF4-FFF2-40B4-BE49-F238E27FC236}">
                  <a16:creationId xmlns:a16="http://schemas.microsoft.com/office/drawing/2014/main" id="{47AC8A16-1724-480E-9AFA-1C263EBBD646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0" name="Motion design">
              <a:extLst>
                <a:ext uri="{FF2B5EF4-FFF2-40B4-BE49-F238E27FC236}">
                  <a16:creationId xmlns:a16="http://schemas.microsoft.com/office/drawing/2014/main" id="{1D6F735E-52CF-46C2-93AD-5C02C58C8C7F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E-mail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21" name="Circle">
              <a:extLst>
                <a:ext uri="{FF2B5EF4-FFF2-40B4-BE49-F238E27FC236}">
                  <a16:creationId xmlns:a16="http://schemas.microsoft.com/office/drawing/2014/main" id="{C7561489-38C2-452F-9576-DD5B9E88A3A9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106" name="Группа 105">
            <a:extLst>
              <a:ext uri="{FF2B5EF4-FFF2-40B4-BE49-F238E27FC236}">
                <a16:creationId xmlns:a16="http://schemas.microsoft.com/office/drawing/2014/main" id="{CF62C192-5919-491A-A1F0-C94A8A712B71}"/>
              </a:ext>
            </a:extLst>
          </p:cNvPr>
          <p:cNvGrpSpPr/>
          <p:nvPr/>
        </p:nvGrpSpPr>
        <p:grpSpPr>
          <a:xfrm>
            <a:off x="4953565" y="4826256"/>
            <a:ext cx="2252360" cy="377702"/>
            <a:chOff x="6510195" y="1556711"/>
            <a:chExt cx="5051622" cy="847113"/>
          </a:xfrm>
        </p:grpSpPr>
        <p:sp>
          <p:nvSpPr>
            <p:cNvPr id="108" name="Rounded Rectangle">
              <a:extLst>
                <a:ext uri="{FF2B5EF4-FFF2-40B4-BE49-F238E27FC236}">
                  <a16:creationId xmlns:a16="http://schemas.microsoft.com/office/drawing/2014/main" id="{59F83E22-686F-44D8-8531-D98D72945394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9" name="Motion design">
              <a:extLst>
                <a:ext uri="{FF2B5EF4-FFF2-40B4-BE49-F238E27FC236}">
                  <a16:creationId xmlns:a16="http://schemas.microsoft.com/office/drawing/2014/main" id="{549EE0E9-1517-48A8-BD2B-7E694711A707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Телефоны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10" name="Circle">
              <a:extLst>
                <a:ext uri="{FF2B5EF4-FFF2-40B4-BE49-F238E27FC236}">
                  <a16:creationId xmlns:a16="http://schemas.microsoft.com/office/drawing/2014/main" id="{D515B1DB-DB14-49BD-B6C7-83E90CE0C9EA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99" name="Группа 98">
            <a:extLst>
              <a:ext uri="{FF2B5EF4-FFF2-40B4-BE49-F238E27FC236}">
                <a16:creationId xmlns:a16="http://schemas.microsoft.com/office/drawing/2014/main" id="{DDE644E9-60F2-441A-8F1A-ACA96340FEAB}"/>
              </a:ext>
            </a:extLst>
          </p:cNvPr>
          <p:cNvGrpSpPr/>
          <p:nvPr/>
        </p:nvGrpSpPr>
        <p:grpSpPr>
          <a:xfrm>
            <a:off x="4953565" y="4395940"/>
            <a:ext cx="2252360" cy="377702"/>
            <a:chOff x="6510195" y="1556711"/>
            <a:chExt cx="5051622" cy="847113"/>
          </a:xfrm>
        </p:grpSpPr>
        <p:sp>
          <p:nvSpPr>
            <p:cNvPr id="100" name="Rounded Rectangle">
              <a:extLst>
                <a:ext uri="{FF2B5EF4-FFF2-40B4-BE49-F238E27FC236}">
                  <a16:creationId xmlns:a16="http://schemas.microsoft.com/office/drawing/2014/main" id="{677731A6-9CA3-4D9F-9681-BD58E9E03BC2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01" name="Motion design">
              <a:extLst>
                <a:ext uri="{FF2B5EF4-FFF2-40B4-BE49-F238E27FC236}">
                  <a16:creationId xmlns:a16="http://schemas.microsoft.com/office/drawing/2014/main" id="{81DD7F80-3B73-4075-B946-C5D3D2866FD2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окументы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102" name="Circle">
              <a:extLst>
                <a:ext uri="{FF2B5EF4-FFF2-40B4-BE49-F238E27FC236}">
                  <a16:creationId xmlns:a16="http://schemas.microsoft.com/office/drawing/2014/main" id="{123798AB-A02A-4ECA-BC17-AE95DBB54712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93" name="Группа 92">
            <a:extLst>
              <a:ext uri="{FF2B5EF4-FFF2-40B4-BE49-F238E27FC236}">
                <a16:creationId xmlns:a16="http://schemas.microsoft.com/office/drawing/2014/main" id="{857A1C30-04A3-476E-AAB9-FAF35989838E}"/>
              </a:ext>
            </a:extLst>
          </p:cNvPr>
          <p:cNvGrpSpPr/>
          <p:nvPr/>
        </p:nvGrpSpPr>
        <p:grpSpPr>
          <a:xfrm>
            <a:off x="4953565" y="3965624"/>
            <a:ext cx="2252360" cy="377702"/>
            <a:chOff x="6510195" y="1556711"/>
            <a:chExt cx="5051622" cy="847113"/>
          </a:xfrm>
        </p:grpSpPr>
        <p:sp>
          <p:nvSpPr>
            <p:cNvPr id="94" name="Rounded Rectangle">
              <a:extLst>
                <a:ext uri="{FF2B5EF4-FFF2-40B4-BE49-F238E27FC236}">
                  <a16:creationId xmlns:a16="http://schemas.microsoft.com/office/drawing/2014/main" id="{7F8220F7-5309-482B-A8CF-BAAF308E1683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5" name="Motion design">
              <a:extLst>
                <a:ext uri="{FF2B5EF4-FFF2-40B4-BE49-F238E27FC236}">
                  <a16:creationId xmlns:a16="http://schemas.microsoft.com/office/drawing/2014/main" id="{20911207-02BF-41F9-9F95-30F7FCE68F55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Адреса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96" name="Circle">
              <a:extLst>
                <a:ext uri="{FF2B5EF4-FFF2-40B4-BE49-F238E27FC236}">
                  <a16:creationId xmlns:a16="http://schemas.microsoft.com/office/drawing/2014/main" id="{8E95BC60-7D4C-4B26-86CE-95430E871B9A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88" name="Группа 87">
            <a:extLst>
              <a:ext uri="{FF2B5EF4-FFF2-40B4-BE49-F238E27FC236}">
                <a16:creationId xmlns:a16="http://schemas.microsoft.com/office/drawing/2014/main" id="{2FDA0E7B-3251-45C3-9D42-87E753C9EDE6}"/>
              </a:ext>
            </a:extLst>
          </p:cNvPr>
          <p:cNvGrpSpPr/>
          <p:nvPr/>
        </p:nvGrpSpPr>
        <p:grpSpPr>
          <a:xfrm>
            <a:off x="4953565" y="3535308"/>
            <a:ext cx="2252360" cy="377702"/>
            <a:chOff x="6510195" y="1556711"/>
            <a:chExt cx="5051622" cy="847113"/>
          </a:xfrm>
        </p:grpSpPr>
        <p:sp>
          <p:nvSpPr>
            <p:cNvPr id="89" name="Rounded Rectangle">
              <a:extLst>
                <a:ext uri="{FF2B5EF4-FFF2-40B4-BE49-F238E27FC236}">
                  <a16:creationId xmlns:a16="http://schemas.microsoft.com/office/drawing/2014/main" id="{2B72CEC9-4BFE-4CA0-8881-2DBF9CD1610F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90" name="Motion design">
              <a:extLst>
                <a:ext uri="{FF2B5EF4-FFF2-40B4-BE49-F238E27FC236}">
                  <a16:creationId xmlns:a16="http://schemas.microsoft.com/office/drawing/2014/main" id="{918A080A-4C9C-4BE6-B933-BFB97BF07574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Дата рождения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91" name="Circle">
              <a:extLst>
                <a:ext uri="{FF2B5EF4-FFF2-40B4-BE49-F238E27FC236}">
                  <a16:creationId xmlns:a16="http://schemas.microsoft.com/office/drawing/2014/main" id="{6E28C3A4-B78A-4D88-88F3-9018944E0E35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80694265-4438-440C-B2A1-0A8F4CDC5689}"/>
              </a:ext>
            </a:extLst>
          </p:cNvPr>
          <p:cNvGrpSpPr/>
          <p:nvPr/>
        </p:nvGrpSpPr>
        <p:grpSpPr>
          <a:xfrm>
            <a:off x="4953565" y="3104992"/>
            <a:ext cx="2252360" cy="377702"/>
            <a:chOff x="6510195" y="1556711"/>
            <a:chExt cx="5051622" cy="847113"/>
          </a:xfrm>
        </p:grpSpPr>
        <p:sp>
          <p:nvSpPr>
            <p:cNvPr id="64" name="Rounded Rectangle">
              <a:extLst>
                <a:ext uri="{FF2B5EF4-FFF2-40B4-BE49-F238E27FC236}">
                  <a16:creationId xmlns:a16="http://schemas.microsoft.com/office/drawing/2014/main" id="{1D8AA45F-F83B-460A-A51D-ACA74B503CF6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65" name="Motion design">
              <a:extLst>
                <a:ext uri="{FF2B5EF4-FFF2-40B4-BE49-F238E27FC236}">
                  <a16:creationId xmlns:a16="http://schemas.microsoft.com/office/drawing/2014/main" id="{CB391021-EED4-4816-8CA4-1744001A92B7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200" dirty="0">
                  <a:solidFill>
                    <a:srgbClr val="0D0D0D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</a:rPr>
                <a:t>ФИО</a:t>
              </a: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SemiBold"/>
                <a:sym typeface="Poppins SemiBold"/>
              </a:endParaRPr>
            </a:p>
          </p:txBody>
        </p:sp>
        <p:sp>
          <p:nvSpPr>
            <p:cNvPr id="66" name="Circle">
              <a:extLst>
                <a:ext uri="{FF2B5EF4-FFF2-40B4-BE49-F238E27FC236}">
                  <a16:creationId xmlns:a16="http://schemas.microsoft.com/office/drawing/2014/main" id="{F939FEE7-51EB-4A59-A795-81DA2DCEFC6B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123" name="Группа 122">
            <a:extLst>
              <a:ext uri="{FF2B5EF4-FFF2-40B4-BE49-F238E27FC236}">
                <a16:creationId xmlns:a16="http://schemas.microsoft.com/office/drawing/2014/main" id="{A20A2202-F31F-46ED-98FC-0914C6F808A7}"/>
              </a:ext>
            </a:extLst>
          </p:cNvPr>
          <p:cNvGrpSpPr/>
          <p:nvPr/>
        </p:nvGrpSpPr>
        <p:grpSpPr>
          <a:xfrm>
            <a:off x="8681847" y="3104992"/>
            <a:ext cx="2252360" cy="377702"/>
            <a:chOff x="6510195" y="1556711"/>
            <a:chExt cx="5051622" cy="847113"/>
          </a:xfrm>
        </p:grpSpPr>
        <p:sp>
          <p:nvSpPr>
            <p:cNvPr id="124" name="Rounded Rectangle">
              <a:extLst>
                <a:ext uri="{FF2B5EF4-FFF2-40B4-BE49-F238E27FC236}">
                  <a16:creationId xmlns:a16="http://schemas.microsoft.com/office/drawing/2014/main" id="{7A20AA8E-F8E4-4FAF-889F-D555B8E1984B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5" name="Motion design">
              <a:extLst>
                <a:ext uri="{FF2B5EF4-FFF2-40B4-BE49-F238E27FC236}">
                  <a16:creationId xmlns:a16="http://schemas.microsoft.com/office/drawing/2014/main" id="{092B3AAE-CD07-4B0D-A70B-8433BA732424}"/>
                </a:ext>
              </a:extLst>
            </p:cNvPr>
            <p:cNvSpPr txBox="1"/>
            <p:nvPr/>
          </p:nvSpPr>
          <p:spPr>
            <a:xfrm>
              <a:off x="7434557" y="1745056"/>
              <a:ext cx="3691419" cy="449259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algn="ctr" defTabSz="309563" hangingPunct="0">
                <a:defRPr/>
              </a:pPr>
              <a:r>
                <a:rPr lang="ru-RU" sz="11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акет. </a:t>
              </a:r>
              <a:r>
                <a:rPr lang="en-US" sz="11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T-1 </a:t>
              </a:r>
              <a:r>
                <a:rPr lang="ru-RU" sz="11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или </a:t>
              </a:r>
              <a:r>
                <a:rPr lang="en-US" sz="11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T-2</a:t>
              </a:r>
            </a:p>
          </p:txBody>
        </p:sp>
        <p:sp>
          <p:nvSpPr>
            <p:cNvPr id="126" name="Circle">
              <a:extLst>
                <a:ext uri="{FF2B5EF4-FFF2-40B4-BE49-F238E27FC236}">
                  <a16:creationId xmlns:a16="http://schemas.microsoft.com/office/drawing/2014/main" id="{6B264AC3-720A-4E5E-A50E-EB37BDE4AE81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139" name="Группа 138">
            <a:extLst>
              <a:ext uri="{FF2B5EF4-FFF2-40B4-BE49-F238E27FC236}">
                <a16:creationId xmlns:a16="http://schemas.microsoft.com/office/drawing/2014/main" id="{9394BA1C-12F0-4D1B-BBE5-AC7CB94791B4}"/>
              </a:ext>
            </a:extLst>
          </p:cNvPr>
          <p:cNvGrpSpPr/>
          <p:nvPr/>
        </p:nvGrpSpPr>
        <p:grpSpPr>
          <a:xfrm>
            <a:off x="1225283" y="3104992"/>
            <a:ext cx="2252360" cy="377702"/>
            <a:chOff x="6510195" y="1556711"/>
            <a:chExt cx="5051622" cy="847113"/>
          </a:xfrm>
        </p:grpSpPr>
        <p:sp>
          <p:nvSpPr>
            <p:cNvPr id="140" name="Rounded Rectangle">
              <a:extLst>
                <a:ext uri="{FF2B5EF4-FFF2-40B4-BE49-F238E27FC236}">
                  <a16:creationId xmlns:a16="http://schemas.microsoft.com/office/drawing/2014/main" id="{C98C4EAE-D6BB-4987-977E-74B3A24C4CD1}"/>
                </a:ext>
              </a:extLst>
            </p:cNvPr>
            <p:cNvSpPr/>
            <p:nvPr/>
          </p:nvSpPr>
          <p:spPr>
            <a:xfrm>
              <a:off x="6510195" y="1556711"/>
              <a:ext cx="5051622" cy="847113"/>
            </a:xfrm>
            <a:prstGeom prst="roundRect">
              <a:avLst>
                <a:gd name="adj" fmla="val 50000"/>
              </a:avLst>
            </a:prstGeom>
            <a:solidFill>
              <a:schemeClr val="bg1"/>
            </a:solidFill>
            <a:ln w="12700" cap="flat">
              <a:noFill/>
              <a:prstDash val="dash"/>
              <a:miter/>
            </a:ln>
            <a:effectLst>
              <a:outerShdw blurRad="1003300" sx="102000" sy="102000" algn="ctr" rotWithShape="0">
                <a:schemeClr val="tx1">
                  <a:alpha val="15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1" name="Motion design">
              <a:extLst>
                <a:ext uri="{FF2B5EF4-FFF2-40B4-BE49-F238E27FC236}">
                  <a16:creationId xmlns:a16="http://schemas.microsoft.com/office/drawing/2014/main" id="{6892B518-B07D-44AB-83BF-24D3162973F7}"/>
                </a:ext>
              </a:extLst>
            </p:cNvPr>
            <p:cNvSpPr txBox="1"/>
            <p:nvPr/>
          </p:nvSpPr>
          <p:spPr>
            <a:xfrm>
              <a:off x="7434557" y="1724630"/>
              <a:ext cx="3691419" cy="490101"/>
            </a:xfrm>
            <a:prstGeom prst="rect">
              <a:avLst/>
            </a:prstGeom>
            <a:ln w="12700">
              <a:miter lim="400000"/>
            </a:ln>
            <a:extLst>
              <a:ext uri="{C572A759-6A51-4108-AA02-DFA0A04FC94B}">
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</a:ext>
            </a:extLst>
          </p:spPr>
          <p:txBody>
            <a:bodyPr wrap="square" lIns="0" tIns="0" rIns="0" bIns="0" anchor="ctr">
              <a:spAutoFit/>
            </a:bodyPr>
            <a:lstStyle>
              <a:lvl1pPr>
                <a:lnSpc>
                  <a:spcPct val="130000"/>
                </a:lnSpc>
                <a:defRPr sz="3000">
                  <a:latin typeface="+mn-lt"/>
                  <a:ea typeface="+mn-ea"/>
                  <a:cs typeface="+mn-cs"/>
                  <a:sym typeface="Poppins SemiBold"/>
                </a:defRPr>
              </a:lvl1pPr>
            </a:lstStyle>
            <a:p>
              <a:pPr marL="0" marR="0" lvl="0" indent="0" algn="ctr" defTabSz="309563" rtl="0" eaLnBrk="1" fontAlgn="auto" latinLnBrk="0" hangingPunct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rPr>
                <a:t>Клиент ФЛ</a:t>
              </a:r>
            </a:p>
          </p:txBody>
        </p:sp>
        <p:sp>
          <p:nvSpPr>
            <p:cNvPr id="142" name="Circle">
              <a:extLst>
                <a:ext uri="{FF2B5EF4-FFF2-40B4-BE49-F238E27FC236}">
                  <a16:creationId xmlns:a16="http://schemas.microsoft.com/office/drawing/2014/main" id="{6E018CF0-4506-4883-B236-EE452081DA20}"/>
                </a:ext>
              </a:extLst>
            </p:cNvPr>
            <p:cNvSpPr/>
            <p:nvPr/>
          </p:nvSpPr>
          <p:spPr>
            <a:xfrm>
              <a:off x="6636379" y="1662600"/>
              <a:ext cx="635335" cy="635335"/>
            </a:xfrm>
            <a:prstGeom prst="ellipse">
              <a:avLst/>
            </a:prstGeom>
            <a:solidFill>
              <a:schemeClr val="bg2"/>
            </a:solidFill>
            <a:ln w="12700"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3200">
                  <a:solidFill>
                    <a:srgbClr val="FFFFFF"/>
                  </a:solidFill>
                  <a:latin typeface="Poppins Bold"/>
                  <a:ea typeface="Poppins Bold"/>
                  <a:cs typeface="Poppins Bold"/>
                  <a:sym typeface="Poppins Bold"/>
                </a:defRPr>
              </a:pPr>
              <a:endParaRPr kumimoji="0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</p:grpSp>
      <p:sp>
        <p:nvSpPr>
          <p:cNvPr id="71" name="Заголовок">
            <a:extLst>
              <a:ext uri="{FF2B5EF4-FFF2-40B4-BE49-F238E27FC236}">
                <a16:creationId xmlns:a16="http://schemas.microsoft.com/office/drawing/2014/main" id="{99AF36D8-9987-4147-A061-1ACFCED32FA9}"/>
              </a:ext>
            </a:extLst>
          </p:cNvPr>
          <p:cNvSpPr txBox="1"/>
          <p:nvPr/>
        </p:nvSpPr>
        <p:spPr>
          <a:xfrm>
            <a:off x="552786" y="255394"/>
            <a:ext cx="48189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Прошло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1-2015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72" name="Таймлайн">
            <a:extLst>
              <a:ext uri="{FF2B5EF4-FFF2-40B4-BE49-F238E27FC236}">
                <a16:creationId xmlns:a16="http://schemas.microsoft.com/office/drawing/2014/main" id="{2110C797-AD9B-4858-BF24-250B8FF69703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73" name="Прямая соединительная линия 72">
            <a:extLst>
              <a:ext uri="{FF2B5EF4-FFF2-40B4-BE49-F238E27FC236}">
                <a16:creationId xmlns:a16="http://schemas.microsoft.com/office/drawing/2014/main" id="{511BEFA5-F10F-48DC-AA05-C843F38AD9D4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>
            <a:extLst>
              <a:ext uri="{FF2B5EF4-FFF2-40B4-BE49-F238E27FC236}">
                <a16:creationId xmlns:a16="http://schemas.microsoft.com/office/drawing/2014/main" id="{9D3AAF67-E54C-441C-B8D4-2042AD546D3C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>
            <a:extLst>
              <a:ext uri="{FF2B5EF4-FFF2-40B4-BE49-F238E27FC236}">
                <a16:creationId xmlns:a16="http://schemas.microsoft.com/office/drawing/2014/main" id="{B97C9A9C-4E7B-429B-8C62-07DE64B62389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>
            <a:extLst>
              <a:ext uri="{FF2B5EF4-FFF2-40B4-BE49-F238E27FC236}">
                <a16:creationId xmlns:a16="http://schemas.microsoft.com/office/drawing/2014/main" id="{0D8C08E0-B406-4746-B994-47243457FD5C}"/>
              </a:ext>
            </a:extLst>
          </p:cNvPr>
          <p:cNvCxnSpPr>
            <a:cxnSpLocks/>
          </p:cNvCxnSpPr>
          <p:nvPr/>
        </p:nvCxnSpPr>
        <p:spPr>
          <a:xfrm>
            <a:off x="1967699" y="1161039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2048">
            <a:extLst>
              <a:ext uri="{FF2B5EF4-FFF2-40B4-BE49-F238E27FC236}">
                <a16:creationId xmlns:a16="http://schemas.microsoft.com/office/drawing/2014/main" id="{20DF9B82-52FE-40D8-89CF-E6569F0067BF}"/>
              </a:ext>
            </a:extLst>
          </p:cNvPr>
          <p:cNvGrpSpPr/>
          <p:nvPr/>
        </p:nvGrpSpPr>
        <p:grpSpPr>
          <a:xfrm rot="16200000">
            <a:off x="5836540" y="1240356"/>
            <a:ext cx="252432" cy="220634"/>
            <a:chOff x="8227651" y="2789818"/>
            <a:chExt cx="252465" cy="220663"/>
          </a:xfrm>
        </p:grpSpPr>
        <p:sp>
          <p:nvSpPr>
            <p:cNvPr id="78" name="Freeform 23">
              <a:extLst>
                <a:ext uri="{FF2B5EF4-FFF2-40B4-BE49-F238E27FC236}">
                  <a16:creationId xmlns:a16="http://schemas.microsoft.com/office/drawing/2014/main" id="{9EE57866-461F-4BD7-BBCC-A5179A9410F4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79" name="Freeform 24">
              <a:extLst>
                <a:ext uri="{FF2B5EF4-FFF2-40B4-BE49-F238E27FC236}">
                  <a16:creationId xmlns:a16="http://schemas.microsoft.com/office/drawing/2014/main" id="{1D0A17F3-9DAD-4647-A828-CFFFA8364DB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86" name="Группа 85">
            <a:extLst>
              <a:ext uri="{FF2B5EF4-FFF2-40B4-BE49-F238E27FC236}">
                <a16:creationId xmlns:a16="http://schemas.microsoft.com/office/drawing/2014/main" id="{7CF69F94-0877-4927-A2CE-8B3B3586A433}"/>
              </a:ext>
            </a:extLst>
          </p:cNvPr>
          <p:cNvGrpSpPr/>
          <p:nvPr/>
        </p:nvGrpSpPr>
        <p:grpSpPr>
          <a:xfrm>
            <a:off x="5596963" y="201448"/>
            <a:ext cx="1963363" cy="2082398"/>
            <a:chOff x="5288674" y="2353610"/>
            <a:chExt cx="1963363" cy="2082398"/>
          </a:xfrm>
          <a:solidFill>
            <a:schemeClr val="accent1">
              <a:alpha val="0"/>
            </a:schemeClr>
          </a:solidFill>
        </p:grpSpPr>
        <p:sp>
          <p:nvSpPr>
            <p:cNvPr id="87" name="Freeform 14">
              <a:extLst>
                <a:ext uri="{FF2B5EF4-FFF2-40B4-BE49-F238E27FC236}">
                  <a16:creationId xmlns:a16="http://schemas.microsoft.com/office/drawing/2014/main" id="{D7CFB427-B378-4A3F-95E4-A7D807C9F8A4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7" name="Freeform 15">
              <a:extLst>
                <a:ext uri="{FF2B5EF4-FFF2-40B4-BE49-F238E27FC236}">
                  <a16:creationId xmlns:a16="http://schemas.microsoft.com/office/drawing/2014/main" id="{89788BBD-DE06-4743-BEEF-81035D0D6561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116" name="Группа 115">
            <a:extLst>
              <a:ext uri="{FF2B5EF4-FFF2-40B4-BE49-F238E27FC236}">
                <a16:creationId xmlns:a16="http://schemas.microsoft.com/office/drawing/2014/main" id="{06A41F80-9A6C-4769-836D-4D373A880516}"/>
              </a:ext>
            </a:extLst>
          </p:cNvPr>
          <p:cNvGrpSpPr/>
          <p:nvPr/>
        </p:nvGrpSpPr>
        <p:grpSpPr>
          <a:xfrm>
            <a:off x="-3718750" y="2212163"/>
            <a:ext cx="3447109" cy="1525331"/>
            <a:chOff x="-5675668" y="-1528814"/>
            <a:chExt cx="4316005" cy="1909814"/>
          </a:xfrm>
        </p:grpSpPr>
        <p:sp>
          <p:nvSpPr>
            <p:cNvPr id="117" name="Shape_фон">
              <a:extLst>
                <a:ext uri="{FF2B5EF4-FFF2-40B4-BE49-F238E27FC236}">
                  <a16:creationId xmlns:a16="http://schemas.microsoft.com/office/drawing/2014/main" id="{2F2CFB03-E8FF-4650-8D1F-177E945A4EEE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18" name="Группа 117">
              <a:extLst>
                <a:ext uri="{FF2B5EF4-FFF2-40B4-BE49-F238E27FC236}">
                  <a16:creationId xmlns:a16="http://schemas.microsoft.com/office/drawing/2014/main" id="{AF150C73-8624-4F4F-B9F4-001631F1C53D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129" name="Rounded Rectangle">
                <a:extLst>
                  <a:ext uri="{FF2B5EF4-FFF2-40B4-BE49-F238E27FC236}">
                    <a16:creationId xmlns:a16="http://schemas.microsoft.com/office/drawing/2014/main" id="{3066F1F7-F824-437A-9524-7241BA29745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30" name="Motion design">
                <a:extLst>
                  <a:ext uri="{FF2B5EF4-FFF2-40B4-BE49-F238E27FC236}">
                    <a16:creationId xmlns:a16="http://schemas.microsoft.com/office/drawing/2014/main" id="{4B09163F-9F70-4B2A-B29E-D11E43735F69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31" name="Circle">
                <a:extLst>
                  <a:ext uri="{FF2B5EF4-FFF2-40B4-BE49-F238E27FC236}">
                    <a16:creationId xmlns:a16="http://schemas.microsoft.com/office/drawing/2014/main" id="{B2104921-2E25-4632-BC4E-DAF406C2B2AE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28" name="Описание">
              <a:extLst>
                <a:ext uri="{FF2B5EF4-FFF2-40B4-BE49-F238E27FC236}">
                  <a16:creationId xmlns:a16="http://schemas.microsoft.com/office/drawing/2014/main" id="{79EB5475-7833-4F92-AC56-DB50D0962567}"/>
                </a:ext>
              </a:extLst>
            </p:cNvPr>
            <p:cNvSpPr txBox="1"/>
            <p:nvPr/>
          </p:nvSpPr>
          <p:spPr>
            <a:xfrm>
              <a:off x="-5576108" y="-724420"/>
              <a:ext cx="4216445" cy="924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оиск клиента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озможность построить продуктовый профиль клиента</a:t>
              </a:r>
            </a:p>
          </p:txBody>
        </p:sp>
      </p:grpSp>
      <p:grpSp>
        <p:nvGrpSpPr>
          <p:cNvPr id="133" name="Группа 132">
            <a:extLst>
              <a:ext uri="{FF2B5EF4-FFF2-40B4-BE49-F238E27FC236}">
                <a16:creationId xmlns:a16="http://schemas.microsoft.com/office/drawing/2014/main" id="{2BFDB2E6-ED1B-441E-88FC-EBEAED4CCC9C}"/>
              </a:ext>
            </a:extLst>
          </p:cNvPr>
          <p:cNvGrpSpPr/>
          <p:nvPr/>
        </p:nvGrpSpPr>
        <p:grpSpPr>
          <a:xfrm>
            <a:off x="4323725" y="7513315"/>
            <a:ext cx="3447111" cy="1525331"/>
            <a:chOff x="-5675668" y="-1528814"/>
            <a:chExt cx="4316007" cy="1909814"/>
          </a:xfrm>
        </p:grpSpPr>
        <p:sp>
          <p:nvSpPr>
            <p:cNvPr id="134" name="Shape_фон">
              <a:extLst>
                <a:ext uri="{FF2B5EF4-FFF2-40B4-BE49-F238E27FC236}">
                  <a16:creationId xmlns:a16="http://schemas.microsoft.com/office/drawing/2014/main" id="{52D78D24-7D70-437A-81C2-FAC2C5E11E47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36" name="Группа 135">
              <a:extLst>
                <a:ext uri="{FF2B5EF4-FFF2-40B4-BE49-F238E27FC236}">
                  <a16:creationId xmlns:a16="http://schemas.microsoft.com/office/drawing/2014/main" id="{9869C9A1-00F7-4410-8005-303B632B86F5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138" name="Rounded Rectangle">
                <a:extLst>
                  <a:ext uri="{FF2B5EF4-FFF2-40B4-BE49-F238E27FC236}">
                    <a16:creationId xmlns:a16="http://schemas.microsoft.com/office/drawing/2014/main" id="{CA29E1AF-DA46-4867-9882-92D35CF6A238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7" name="Motion design">
                <a:extLst>
                  <a:ext uri="{FF2B5EF4-FFF2-40B4-BE49-F238E27FC236}">
                    <a16:creationId xmlns:a16="http://schemas.microsoft.com/office/drawing/2014/main" id="{58962996-427E-4CAA-AB5B-196E968D1826}"/>
                  </a:ext>
                </a:extLst>
              </p:cNvPr>
              <p:cNvSpPr txBox="1"/>
              <p:nvPr/>
            </p:nvSpPr>
            <p:spPr>
              <a:xfrm>
                <a:off x="7232363" y="1673305"/>
                <a:ext cx="2738754" cy="59824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148" name="Circle">
                <a:extLst>
                  <a:ext uri="{FF2B5EF4-FFF2-40B4-BE49-F238E27FC236}">
                    <a16:creationId xmlns:a16="http://schemas.microsoft.com/office/drawing/2014/main" id="{A3136341-E584-4623-97E4-D623E2B2BCCE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37" name="Описание">
              <a:extLst>
                <a:ext uri="{FF2B5EF4-FFF2-40B4-BE49-F238E27FC236}">
                  <a16:creationId xmlns:a16="http://schemas.microsoft.com/office/drawing/2014/main" id="{5D183B25-FC08-4930-B42A-CA921E689F4F}"/>
                </a:ext>
              </a:extLst>
            </p:cNvPr>
            <p:cNvSpPr txBox="1"/>
            <p:nvPr/>
          </p:nvSpPr>
          <p:spPr>
            <a:xfrm>
              <a:off x="-5576106" y="-724420"/>
              <a:ext cx="4216445" cy="924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Упрощение заполнения форм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озможность увидеть все продукты и услуги</a:t>
              </a:r>
            </a:p>
          </p:txBody>
        </p:sp>
      </p:grpSp>
      <p:grpSp>
        <p:nvGrpSpPr>
          <p:cNvPr id="150" name="Группа 149">
            <a:extLst>
              <a:ext uri="{FF2B5EF4-FFF2-40B4-BE49-F238E27FC236}">
                <a16:creationId xmlns:a16="http://schemas.microsoft.com/office/drawing/2014/main" id="{8193FCD7-5249-42E3-AE83-724065F252D5}"/>
              </a:ext>
            </a:extLst>
          </p:cNvPr>
          <p:cNvGrpSpPr/>
          <p:nvPr/>
        </p:nvGrpSpPr>
        <p:grpSpPr>
          <a:xfrm>
            <a:off x="12875856" y="2212163"/>
            <a:ext cx="3447109" cy="1525331"/>
            <a:chOff x="-5675668" y="-1528814"/>
            <a:chExt cx="4316005" cy="1909814"/>
          </a:xfrm>
        </p:grpSpPr>
        <p:sp>
          <p:nvSpPr>
            <p:cNvPr id="151" name="Shape_фон">
              <a:extLst>
                <a:ext uri="{FF2B5EF4-FFF2-40B4-BE49-F238E27FC236}">
                  <a16:creationId xmlns:a16="http://schemas.microsoft.com/office/drawing/2014/main" id="{39BC8AC3-804E-42A5-87F0-0D08B284BF4F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903946EB-E7C6-4E0A-A69B-ABEF068A92A0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154" name="Rounded Rectangle">
                <a:extLst>
                  <a:ext uri="{FF2B5EF4-FFF2-40B4-BE49-F238E27FC236}">
                    <a16:creationId xmlns:a16="http://schemas.microsoft.com/office/drawing/2014/main" id="{7DD53F1C-82C5-4CB8-A1D4-A9F76DF1B972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5" name="Motion design">
                <a:extLst>
                  <a:ext uri="{FF2B5EF4-FFF2-40B4-BE49-F238E27FC236}">
                    <a16:creationId xmlns:a16="http://schemas.microsoft.com/office/drawing/2014/main" id="{7AFA9410-C87F-4618-8C01-47C81790F9BF}"/>
                  </a:ext>
                </a:extLst>
              </p:cNvPr>
              <p:cNvSpPr txBox="1"/>
              <p:nvPr/>
            </p:nvSpPr>
            <p:spPr>
              <a:xfrm>
                <a:off x="7232363" y="1673305"/>
                <a:ext cx="2738754" cy="59824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T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56" name="Circle">
                <a:extLst>
                  <a:ext uri="{FF2B5EF4-FFF2-40B4-BE49-F238E27FC236}">
                    <a16:creationId xmlns:a16="http://schemas.microsoft.com/office/drawing/2014/main" id="{2A1177A2-23F4-44D6-9B68-82AC079F7734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53" name="Описание">
              <a:extLst>
                <a:ext uri="{FF2B5EF4-FFF2-40B4-BE49-F238E27FC236}">
                  <a16:creationId xmlns:a16="http://schemas.microsoft.com/office/drawing/2014/main" id="{5AB8FABB-725B-488F-BF17-52AC2D80FAB7}"/>
                </a:ext>
              </a:extLst>
            </p:cNvPr>
            <p:cNvSpPr txBox="1"/>
            <p:nvPr/>
          </p:nvSpPr>
          <p:spPr>
            <a:xfrm>
              <a:off x="-5576108" y="-626723"/>
              <a:ext cx="4216445" cy="655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Стандартизация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Сбор карточки клиента</a:t>
              </a: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506754233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871404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9B550D03-BBA1-4F13-9FA0-610674A8159A}"/>
              </a:ext>
            </a:extLst>
          </p:cNvPr>
          <p:cNvGrpSpPr/>
          <p:nvPr/>
        </p:nvGrpSpPr>
        <p:grpSpPr>
          <a:xfrm>
            <a:off x="1204471" y="2212163"/>
            <a:ext cx="3447109" cy="1525331"/>
            <a:chOff x="-5675668" y="-1528814"/>
            <a:chExt cx="4316005" cy="1909814"/>
          </a:xfrm>
        </p:grpSpPr>
        <p:sp>
          <p:nvSpPr>
            <p:cNvPr id="98" name="Shape_фон">
              <a:extLst>
                <a:ext uri="{FF2B5EF4-FFF2-40B4-BE49-F238E27FC236}">
                  <a16:creationId xmlns:a16="http://schemas.microsoft.com/office/drawing/2014/main" id="{E5A47B32-D453-4ACD-9D96-360F70E541BE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01" name="Группа 100">
              <a:extLst>
                <a:ext uri="{FF2B5EF4-FFF2-40B4-BE49-F238E27FC236}">
                  <a16:creationId xmlns:a16="http://schemas.microsoft.com/office/drawing/2014/main" id="{0F136C1A-BE2A-424E-9CE8-317D5996C662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102" name="Rounded Rectangle">
                <a:extLst>
                  <a:ext uri="{FF2B5EF4-FFF2-40B4-BE49-F238E27FC236}">
                    <a16:creationId xmlns:a16="http://schemas.microsoft.com/office/drawing/2014/main" id="{5E25754E-2989-4D54-BFE4-D62A6DD5C229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03" name="Motion design">
                <a:extLst>
                  <a:ext uri="{FF2B5EF4-FFF2-40B4-BE49-F238E27FC236}">
                    <a16:creationId xmlns:a16="http://schemas.microsoft.com/office/drawing/2014/main" id="{C88BB17A-48FD-4761-9DA6-28F86D6E5848}"/>
                  </a:ext>
                </a:extLst>
              </p:cNvPr>
              <p:cNvSpPr txBox="1"/>
              <p:nvPr/>
            </p:nvSpPr>
            <p:spPr>
              <a:xfrm>
                <a:off x="7232363" y="1730780"/>
                <a:ext cx="2738754" cy="483292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ru-RU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Бизнес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104" name="Circle">
                <a:extLst>
                  <a:ext uri="{FF2B5EF4-FFF2-40B4-BE49-F238E27FC236}">
                    <a16:creationId xmlns:a16="http://schemas.microsoft.com/office/drawing/2014/main" id="{03F1D819-71BE-4EB1-8CAD-08F09E551F1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119" name="Описание">
              <a:extLst>
                <a:ext uri="{FF2B5EF4-FFF2-40B4-BE49-F238E27FC236}">
                  <a16:creationId xmlns:a16="http://schemas.microsoft.com/office/drawing/2014/main" id="{03A324E8-ECDB-4F26-BBC6-D39761499CA0}"/>
                </a:ext>
              </a:extLst>
            </p:cNvPr>
            <p:cNvSpPr txBox="1"/>
            <p:nvPr/>
          </p:nvSpPr>
          <p:spPr>
            <a:xfrm>
              <a:off x="-5576108" y="-724420"/>
              <a:ext cx="4216445" cy="924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Поиск клиента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озможность построить продуктовый профиль клиента</a:t>
              </a:r>
            </a:p>
          </p:txBody>
        </p:sp>
      </p:grpSp>
      <p:sp>
        <p:nvSpPr>
          <p:cNvPr id="43" name="Заголовок">
            <a:extLst>
              <a:ext uri="{FF2B5EF4-FFF2-40B4-BE49-F238E27FC236}">
                <a16:creationId xmlns:a16="http://schemas.microsoft.com/office/drawing/2014/main" id="{4D774D1A-462F-48E2-9CA7-93866BAC4B88}"/>
              </a:ext>
            </a:extLst>
          </p:cNvPr>
          <p:cNvSpPr txBox="1"/>
          <p:nvPr/>
        </p:nvSpPr>
        <p:spPr>
          <a:xfrm>
            <a:off x="552786" y="255394"/>
            <a:ext cx="4818948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Прошло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1-2015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44" name="Таймлайн">
            <a:extLst>
              <a:ext uri="{FF2B5EF4-FFF2-40B4-BE49-F238E27FC236}">
                <a16:creationId xmlns:a16="http://schemas.microsoft.com/office/drawing/2014/main" id="{2FA234B3-F976-4EF4-8E02-AB4144819BFD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45" name="Прямая соединительная линия 44">
            <a:extLst>
              <a:ext uri="{FF2B5EF4-FFF2-40B4-BE49-F238E27FC236}">
                <a16:creationId xmlns:a16="http://schemas.microsoft.com/office/drawing/2014/main" id="{8BFF1C42-7B37-4F04-BF7A-A6DC439BD48B}"/>
              </a:ext>
            </a:extLst>
          </p:cNvPr>
          <p:cNvCxnSpPr>
            <a:cxnSpLocks/>
          </p:cNvCxnSpPr>
          <p:nvPr/>
        </p:nvCxnSpPr>
        <p:spPr>
          <a:xfrm>
            <a:off x="7295652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AC34E82C-9D92-4560-8C3A-A66A2DF8EDAE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89845AFF-F60C-41C2-AB34-CD05EE3A6C07}"/>
              </a:ext>
            </a:extLst>
          </p:cNvPr>
          <p:cNvCxnSpPr>
            <a:cxnSpLocks/>
          </p:cNvCxnSpPr>
          <p:nvPr/>
        </p:nvCxnSpPr>
        <p:spPr>
          <a:xfrm>
            <a:off x="4631675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DA73FA27-F7CE-403D-BC88-504455AAEBEB}"/>
              </a:ext>
            </a:extLst>
          </p:cNvPr>
          <p:cNvCxnSpPr>
            <a:cxnSpLocks/>
          </p:cNvCxnSpPr>
          <p:nvPr/>
        </p:nvCxnSpPr>
        <p:spPr>
          <a:xfrm>
            <a:off x="1967699" y="1161039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2048">
            <a:extLst>
              <a:ext uri="{FF2B5EF4-FFF2-40B4-BE49-F238E27FC236}">
                <a16:creationId xmlns:a16="http://schemas.microsoft.com/office/drawing/2014/main" id="{479022FE-4D79-4371-843D-5DF937B3C453}"/>
              </a:ext>
            </a:extLst>
          </p:cNvPr>
          <p:cNvGrpSpPr/>
          <p:nvPr/>
        </p:nvGrpSpPr>
        <p:grpSpPr>
          <a:xfrm rot="16200000">
            <a:off x="5836540" y="1240356"/>
            <a:ext cx="252432" cy="220634"/>
            <a:chOff x="8227651" y="2789818"/>
            <a:chExt cx="252465" cy="220663"/>
          </a:xfrm>
        </p:grpSpPr>
        <p:sp>
          <p:nvSpPr>
            <p:cNvPr id="50" name="Freeform 23">
              <a:extLst>
                <a:ext uri="{FF2B5EF4-FFF2-40B4-BE49-F238E27FC236}">
                  <a16:creationId xmlns:a16="http://schemas.microsoft.com/office/drawing/2014/main" id="{D935D115-B1B4-4155-A016-3291058A322E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51" name="Freeform 24">
              <a:extLst>
                <a:ext uri="{FF2B5EF4-FFF2-40B4-BE49-F238E27FC236}">
                  <a16:creationId xmlns:a16="http://schemas.microsoft.com/office/drawing/2014/main" id="{6C1D73DE-C44B-47A9-ADFA-270D268CADD3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22" name="Группа 21">
            <a:extLst>
              <a:ext uri="{FF2B5EF4-FFF2-40B4-BE49-F238E27FC236}">
                <a16:creationId xmlns:a16="http://schemas.microsoft.com/office/drawing/2014/main" id="{0BEAE724-00A2-476A-9991-D620E9B2944F}"/>
              </a:ext>
            </a:extLst>
          </p:cNvPr>
          <p:cNvGrpSpPr/>
          <p:nvPr/>
        </p:nvGrpSpPr>
        <p:grpSpPr>
          <a:xfrm>
            <a:off x="5357254" y="2300270"/>
            <a:ext cx="1963363" cy="2082398"/>
            <a:chOff x="5288674" y="2353610"/>
            <a:chExt cx="1963363" cy="2082398"/>
          </a:xfrm>
        </p:grpSpPr>
        <p:sp>
          <p:nvSpPr>
            <p:cNvPr id="52" name="Freeform 14">
              <a:extLst>
                <a:ext uri="{FF2B5EF4-FFF2-40B4-BE49-F238E27FC236}">
                  <a16:creationId xmlns:a16="http://schemas.microsoft.com/office/drawing/2014/main" id="{1B025200-9A36-4A70-8AD9-9FEB0549C955}"/>
                </a:ext>
              </a:extLst>
            </p:cNvPr>
            <p:cNvSpPr>
              <a:spLocks/>
            </p:cNvSpPr>
            <p:nvPr/>
          </p:nvSpPr>
          <p:spPr bwMode="auto">
            <a:xfrm>
              <a:off x="5288674" y="2595984"/>
              <a:ext cx="992438" cy="1315123"/>
            </a:xfrm>
            <a:custGeom>
              <a:avLst/>
              <a:gdLst>
                <a:gd name="T0" fmla="*/ 0 w 692"/>
                <a:gd name="T1" fmla="*/ 917 h 917"/>
                <a:gd name="T2" fmla="*/ 195 w 692"/>
                <a:gd name="T3" fmla="*/ 917 h 917"/>
                <a:gd name="T4" fmla="*/ 624 w 692"/>
                <a:gd name="T5" fmla="*/ 171 h 917"/>
                <a:gd name="T6" fmla="*/ 692 w 692"/>
                <a:gd name="T7" fmla="*/ 288 h 917"/>
                <a:gd name="T8" fmla="*/ 527 w 692"/>
                <a:gd name="T9" fmla="*/ 0 h 917"/>
                <a:gd name="T10" fmla="*/ 0 w 692"/>
                <a:gd name="T11" fmla="*/ 917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92" h="917">
                  <a:moveTo>
                    <a:pt x="0" y="917"/>
                  </a:moveTo>
                  <a:lnTo>
                    <a:pt x="195" y="917"/>
                  </a:lnTo>
                  <a:lnTo>
                    <a:pt x="624" y="171"/>
                  </a:lnTo>
                  <a:lnTo>
                    <a:pt x="692" y="288"/>
                  </a:lnTo>
                  <a:lnTo>
                    <a:pt x="527" y="0"/>
                  </a:lnTo>
                  <a:lnTo>
                    <a:pt x="0" y="917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15">
              <a:extLst>
                <a:ext uri="{FF2B5EF4-FFF2-40B4-BE49-F238E27FC236}">
                  <a16:creationId xmlns:a16="http://schemas.microsoft.com/office/drawing/2014/main" id="{B10776E0-73AE-40D7-A60B-79B4D1D75C99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353610"/>
              <a:ext cx="1207562" cy="2082398"/>
            </a:xfrm>
            <a:custGeom>
              <a:avLst/>
              <a:gdLst>
                <a:gd name="T0" fmla="*/ 97 w 842"/>
                <a:gd name="T1" fmla="*/ 0 h 1452"/>
                <a:gd name="T2" fmla="*/ 0 w 842"/>
                <a:gd name="T3" fmla="*/ 169 h 1452"/>
                <a:gd name="T4" fmla="*/ 165 w 842"/>
                <a:gd name="T5" fmla="*/ 457 h 1452"/>
                <a:gd name="T6" fmla="*/ 746 w 842"/>
                <a:gd name="T7" fmla="*/ 1452 h 1452"/>
                <a:gd name="T8" fmla="*/ 746 w 842"/>
                <a:gd name="T9" fmla="*/ 1452 h 1452"/>
                <a:gd name="T10" fmla="*/ 842 w 842"/>
                <a:gd name="T11" fmla="*/ 1285 h 1452"/>
                <a:gd name="T12" fmla="*/ 97 w 842"/>
                <a:gd name="T13" fmla="*/ 0 h 14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2" h="1452">
                  <a:moveTo>
                    <a:pt x="97" y="0"/>
                  </a:moveTo>
                  <a:lnTo>
                    <a:pt x="0" y="169"/>
                  </a:lnTo>
                  <a:lnTo>
                    <a:pt x="165" y="457"/>
                  </a:lnTo>
                  <a:lnTo>
                    <a:pt x="746" y="1452"/>
                  </a:lnTo>
                  <a:lnTo>
                    <a:pt x="746" y="1452"/>
                  </a:lnTo>
                  <a:lnTo>
                    <a:pt x="842" y="128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705EBD41-A644-430F-8C97-65AFB58F1799}"/>
              </a:ext>
            </a:extLst>
          </p:cNvPr>
          <p:cNvGrpSpPr/>
          <p:nvPr/>
        </p:nvGrpSpPr>
        <p:grpSpPr>
          <a:xfrm>
            <a:off x="4896889" y="2277323"/>
            <a:ext cx="1798435" cy="1842895"/>
            <a:chOff x="4828309" y="2330663"/>
            <a:chExt cx="1798435" cy="1842895"/>
          </a:xfrm>
        </p:grpSpPr>
        <p:sp>
          <p:nvSpPr>
            <p:cNvPr id="55" name="Freeform 17">
              <a:extLst>
                <a:ext uri="{FF2B5EF4-FFF2-40B4-BE49-F238E27FC236}">
                  <a16:creationId xmlns:a16="http://schemas.microsoft.com/office/drawing/2014/main" id="{E187BB3C-2A70-4E40-962A-6B38FF2E205F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0838" y="3931184"/>
              <a:ext cx="1515906" cy="242374"/>
            </a:xfrm>
            <a:custGeom>
              <a:avLst/>
              <a:gdLst>
                <a:gd name="T0" fmla="*/ 957 w 1057"/>
                <a:gd name="T1" fmla="*/ 0 h 169"/>
                <a:gd name="T2" fmla="*/ 96 w 1057"/>
                <a:gd name="T3" fmla="*/ 0 h 169"/>
                <a:gd name="T4" fmla="*/ 0 w 1057"/>
                <a:gd name="T5" fmla="*/ 169 h 169"/>
                <a:gd name="T6" fmla="*/ 1057 w 1057"/>
                <a:gd name="T7" fmla="*/ 169 h 169"/>
                <a:gd name="T8" fmla="*/ 957 w 1057"/>
                <a:gd name="T9" fmla="*/ 0 h 1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57" h="169">
                  <a:moveTo>
                    <a:pt x="957" y="0"/>
                  </a:moveTo>
                  <a:lnTo>
                    <a:pt x="96" y="0"/>
                  </a:lnTo>
                  <a:lnTo>
                    <a:pt x="0" y="169"/>
                  </a:lnTo>
                  <a:lnTo>
                    <a:pt x="1057" y="169"/>
                  </a:lnTo>
                  <a:lnTo>
                    <a:pt x="95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18">
              <a:extLst>
                <a:ext uri="{FF2B5EF4-FFF2-40B4-BE49-F238E27FC236}">
                  <a16:creationId xmlns:a16="http://schemas.microsoft.com/office/drawing/2014/main" id="{22C556D8-EF95-4A31-9FF4-8063127BF6E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28309" y="2330663"/>
              <a:ext cx="1343807" cy="1842894"/>
            </a:xfrm>
            <a:custGeom>
              <a:avLst/>
              <a:gdLst>
                <a:gd name="T0" fmla="*/ 937 w 937"/>
                <a:gd name="T1" fmla="*/ 0 h 1285"/>
                <a:gd name="T2" fmla="*/ 741 w 937"/>
                <a:gd name="T3" fmla="*/ 0 h 1285"/>
                <a:gd name="T4" fmla="*/ 0 w 937"/>
                <a:gd name="T5" fmla="*/ 1285 h 1285"/>
                <a:gd name="T6" fmla="*/ 197 w 937"/>
                <a:gd name="T7" fmla="*/ 1285 h 1285"/>
                <a:gd name="T8" fmla="*/ 293 w 937"/>
                <a:gd name="T9" fmla="*/ 1116 h 1285"/>
                <a:gd name="T10" fmla="*/ 293 w 937"/>
                <a:gd name="T11" fmla="*/ 1116 h 1285"/>
                <a:gd name="T12" fmla="*/ 937 w 937"/>
                <a:gd name="T13" fmla="*/ 0 h 1285"/>
                <a:gd name="T14" fmla="*/ 937 w 937"/>
                <a:gd name="T15" fmla="*/ 0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37" h="1285">
                  <a:moveTo>
                    <a:pt x="937" y="0"/>
                  </a:moveTo>
                  <a:lnTo>
                    <a:pt x="741" y="0"/>
                  </a:lnTo>
                  <a:lnTo>
                    <a:pt x="0" y="1285"/>
                  </a:lnTo>
                  <a:lnTo>
                    <a:pt x="197" y="1285"/>
                  </a:lnTo>
                  <a:lnTo>
                    <a:pt x="293" y="1116"/>
                  </a:lnTo>
                  <a:lnTo>
                    <a:pt x="293" y="1116"/>
                  </a:lnTo>
                  <a:lnTo>
                    <a:pt x="937" y="0"/>
                  </a:lnTo>
                  <a:lnTo>
                    <a:pt x="937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4CDD284F-066D-4CFE-B33B-5F5EC8E3D90E}"/>
              </a:ext>
            </a:extLst>
          </p:cNvPr>
          <p:cNvGrpSpPr/>
          <p:nvPr/>
        </p:nvGrpSpPr>
        <p:grpSpPr>
          <a:xfrm>
            <a:off x="4879679" y="2825172"/>
            <a:ext cx="2270274" cy="1557497"/>
            <a:chOff x="4811099" y="2878512"/>
            <a:chExt cx="2270274" cy="1557497"/>
          </a:xfrm>
        </p:grpSpPr>
        <p:sp>
          <p:nvSpPr>
            <p:cNvPr id="54" name="Freeform 16">
              <a:extLst>
                <a:ext uri="{FF2B5EF4-FFF2-40B4-BE49-F238E27FC236}">
                  <a16:creationId xmlns:a16="http://schemas.microsoft.com/office/drawing/2014/main" id="{42E69941-952E-4082-B1D5-3FF9AC160602}"/>
                </a:ext>
              </a:extLst>
            </p:cNvPr>
            <p:cNvSpPr>
              <a:spLocks/>
            </p:cNvSpPr>
            <p:nvPr/>
          </p:nvSpPr>
          <p:spPr bwMode="auto">
            <a:xfrm>
              <a:off x="6044475" y="2878512"/>
              <a:ext cx="897784" cy="1312255"/>
            </a:xfrm>
            <a:custGeom>
              <a:avLst/>
              <a:gdLst>
                <a:gd name="T0" fmla="*/ 97 w 626"/>
                <a:gd name="T1" fmla="*/ 0 h 915"/>
                <a:gd name="T2" fmla="*/ 0 w 626"/>
                <a:gd name="T3" fmla="*/ 171 h 915"/>
                <a:gd name="T4" fmla="*/ 430 w 626"/>
                <a:gd name="T5" fmla="*/ 915 h 915"/>
                <a:gd name="T6" fmla="*/ 626 w 626"/>
                <a:gd name="T7" fmla="*/ 915 h 915"/>
                <a:gd name="T8" fmla="*/ 97 w 626"/>
                <a:gd name="T9" fmla="*/ 0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26" h="915">
                  <a:moveTo>
                    <a:pt x="97" y="0"/>
                  </a:moveTo>
                  <a:lnTo>
                    <a:pt x="0" y="171"/>
                  </a:lnTo>
                  <a:lnTo>
                    <a:pt x="430" y="915"/>
                  </a:lnTo>
                  <a:lnTo>
                    <a:pt x="626" y="915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19">
              <a:extLst>
                <a:ext uri="{FF2B5EF4-FFF2-40B4-BE49-F238E27FC236}">
                  <a16:creationId xmlns:a16="http://schemas.microsoft.com/office/drawing/2014/main" id="{4BD472A3-CB8D-45C2-8099-13EA52139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4811099" y="4190768"/>
              <a:ext cx="2270274" cy="245241"/>
            </a:xfrm>
            <a:custGeom>
              <a:avLst/>
              <a:gdLst>
                <a:gd name="T0" fmla="*/ 1486 w 1583"/>
                <a:gd name="T1" fmla="*/ 0 h 171"/>
                <a:gd name="T2" fmla="*/ 2 w 1583"/>
                <a:gd name="T3" fmla="*/ 2 h 171"/>
                <a:gd name="T4" fmla="*/ 0 w 1583"/>
                <a:gd name="T5" fmla="*/ 6 h 171"/>
                <a:gd name="T6" fmla="*/ 96 w 1583"/>
                <a:gd name="T7" fmla="*/ 171 h 171"/>
                <a:gd name="T8" fmla="*/ 1583 w 1583"/>
                <a:gd name="T9" fmla="*/ 171 h 171"/>
                <a:gd name="T10" fmla="*/ 1486 w 1583"/>
                <a:gd name="T11" fmla="*/ 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83" h="171">
                  <a:moveTo>
                    <a:pt x="1486" y="0"/>
                  </a:moveTo>
                  <a:lnTo>
                    <a:pt x="2" y="2"/>
                  </a:lnTo>
                  <a:lnTo>
                    <a:pt x="0" y="6"/>
                  </a:lnTo>
                  <a:lnTo>
                    <a:pt x="96" y="171"/>
                  </a:lnTo>
                  <a:lnTo>
                    <a:pt x="1583" y="171"/>
                  </a:lnTo>
                  <a:lnTo>
                    <a:pt x="1486" y="0"/>
                  </a:lnTo>
                  <a:close/>
                </a:path>
              </a:pathLst>
            </a:custGeom>
            <a:solidFill>
              <a:schemeClr val="bg2">
                <a:lumMod val="50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E462977F-1D44-44F1-98AF-EB04AEB04B1A}"/>
              </a:ext>
            </a:extLst>
          </p:cNvPr>
          <p:cNvGrpSpPr/>
          <p:nvPr/>
        </p:nvGrpSpPr>
        <p:grpSpPr>
          <a:xfrm>
            <a:off x="7540420" y="2212163"/>
            <a:ext cx="3447109" cy="1525331"/>
            <a:chOff x="-5675668" y="-1528814"/>
            <a:chExt cx="4316005" cy="1909814"/>
          </a:xfrm>
        </p:grpSpPr>
        <p:sp>
          <p:nvSpPr>
            <p:cNvPr id="64" name="Shape_фон">
              <a:extLst>
                <a:ext uri="{FF2B5EF4-FFF2-40B4-BE49-F238E27FC236}">
                  <a16:creationId xmlns:a16="http://schemas.microsoft.com/office/drawing/2014/main" id="{9C4C5316-9B83-4498-B5A5-7B7F4B26E5B1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65" name="Группа 64">
              <a:extLst>
                <a:ext uri="{FF2B5EF4-FFF2-40B4-BE49-F238E27FC236}">
                  <a16:creationId xmlns:a16="http://schemas.microsoft.com/office/drawing/2014/main" id="{97289C4E-20E2-43EB-A9A5-FE4073769A56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67" name="Rounded Rectangle">
                <a:extLst>
                  <a:ext uri="{FF2B5EF4-FFF2-40B4-BE49-F238E27FC236}">
                    <a16:creationId xmlns:a16="http://schemas.microsoft.com/office/drawing/2014/main" id="{949D32C7-996D-4723-A34C-74E2FE17B1B4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68" name="Motion design">
                <a:extLst>
                  <a:ext uri="{FF2B5EF4-FFF2-40B4-BE49-F238E27FC236}">
                    <a16:creationId xmlns:a16="http://schemas.microsoft.com/office/drawing/2014/main" id="{B9FF4A24-E1E1-42CD-82EA-EFDD54F72466}"/>
                  </a:ext>
                </a:extLst>
              </p:cNvPr>
              <p:cNvSpPr txBox="1"/>
              <p:nvPr/>
            </p:nvSpPr>
            <p:spPr>
              <a:xfrm>
                <a:off x="7232363" y="1673305"/>
                <a:ext cx="2738754" cy="59824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en-US" sz="20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T</a:t>
                </a:r>
                <a:endParaRPr kumimoji="0" 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  <p:sp>
            <p:nvSpPr>
              <p:cNvPr id="69" name="Circle">
                <a:extLst>
                  <a:ext uri="{FF2B5EF4-FFF2-40B4-BE49-F238E27FC236}">
                    <a16:creationId xmlns:a16="http://schemas.microsoft.com/office/drawing/2014/main" id="{FF8EB09F-631F-4677-9673-EDE9C99FA5C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66" name="Описание">
              <a:extLst>
                <a:ext uri="{FF2B5EF4-FFF2-40B4-BE49-F238E27FC236}">
                  <a16:creationId xmlns:a16="http://schemas.microsoft.com/office/drawing/2014/main" id="{A317DAE1-0FE2-4673-BE00-D90BCDF907F9}"/>
                </a:ext>
              </a:extLst>
            </p:cNvPr>
            <p:cNvSpPr txBox="1"/>
            <p:nvPr/>
          </p:nvSpPr>
          <p:spPr>
            <a:xfrm>
              <a:off x="-5576108" y="-626723"/>
              <a:ext cx="4216445" cy="65510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Стандартизация данных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Сбор карточки клиента</a:t>
              </a:r>
            </a:p>
          </p:txBody>
        </p:sp>
      </p:grpSp>
      <p:grpSp>
        <p:nvGrpSpPr>
          <p:cNvPr id="71" name="Группа 70">
            <a:extLst>
              <a:ext uri="{FF2B5EF4-FFF2-40B4-BE49-F238E27FC236}">
                <a16:creationId xmlns:a16="http://schemas.microsoft.com/office/drawing/2014/main" id="{04D88E66-3F0F-4F8E-B054-E93AF4A757F6}"/>
              </a:ext>
            </a:extLst>
          </p:cNvPr>
          <p:cNvGrpSpPr/>
          <p:nvPr/>
        </p:nvGrpSpPr>
        <p:grpSpPr>
          <a:xfrm>
            <a:off x="4323725" y="4792028"/>
            <a:ext cx="3447111" cy="1525331"/>
            <a:chOff x="-5675668" y="-1528814"/>
            <a:chExt cx="4316007" cy="1909814"/>
          </a:xfrm>
        </p:grpSpPr>
        <p:sp>
          <p:nvSpPr>
            <p:cNvPr id="72" name="Shape_фон">
              <a:extLst>
                <a:ext uri="{FF2B5EF4-FFF2-40B4-BE49-F238E27FC236}">
                  <a16:creationId xmlns:a16="http://schemas.microsoft.com/office/drawing/2014/main" id="{F7EAAD30-8FC7-4E23-BA94-2667BB45C3EA}"/>
                </a:ext>
              </a:extLst>
            </p:cNvPr>
            <p:cNvSpPr/>
            <p:nvPr/>
          </p:nvSpPr>
          <p:spPr>
            <a:xfrm>
              <a:off x="-5675668" y="-1205963"/>
              <a:ext cx="4216445" cy="1586963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73" name="Группа 72">
              <a:extLst>
                <a:ext uri="{FF2B5EF4-FFF2-40B4-BE49-F238E27FC236}">
                  <a16:creationId xmlns:a16="http://schemas.microsoft.com/office/drawing/2014/main" id="{B8B49C85-DA02-432B-B0A1-35F6A7CB54EA}"/>
                </a:ext>
              </a:extLst>
            </p:cNvPr>
            <p:cNvGrpSpPr/>
            <p:nvPr/>
          </p:nvGrpSpPr>
          <p:grpSpPr>
            <a:xfrm>
              <a:off x="-5006359" y="-1528814"/>
              <a:ext cx="3076949" cy="645702"/>
              <a:chOff x="6510195" y="1556711"/>
              <a:chExt cx="4036736" cy="847113"/>
            </a:xfrm>
          </p:grpSpPr>
          <p:sp>
            <p:nvSpPr>
              <p:cNvPr id="75" name="Rounded Rectangle">
                <a:extLst>
                  <a:ext uri="{FF2B5EF4-FFF2-40B4-BE49-F238E27FC236}">
                    <a16:creationId xmlns:a16="http://schemas.microsoft.com/office/drawing/2014/main" id="{0872EB95-E6BA-43E3-ACE1-BDD9E222829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036736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6" name="Motion design">
                <a:extLst>
                  <a:ext uri="{FF2B5EF4-FFF2-40B4-BE49-F238E27FC236}">
                    <a16:creationId xmlns:a16="http://schemas.microsoft.com/office/drawing/2014/main" id="{40A18E93-4765-4529-AE88-52D40708B374}"/>
                  </a:ext>
                </a:extLst>
              </p:cNvPr>
              <p:cNvSpPr txBox="1"/>
              <p:nvPr/>
            </p:nvSpPr>
            <p:spPr>
              <a:xfrm>
                <a:off x="7232363" y="1673305"/>
                <a:ext cx="2738754" cy="598244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20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Клиент</a:t>
                </a:r>
              </a:p>
            </p:txBody>
          </p:sp>
          <p:sp>
            <p:nvSpPr>
              <p:cNvPr id="77" name="Circle">
                <a:extLst>
                  <a:ext uri="{FF2B5EF4-FFF2-40B4-BE49-F238E27FC236}">
                    <a16:creationId xmlns:a16="http://schemas.microsoft.com/office/drawing/2014/main" id="{8CE5560A-035A-4CF0-9199-3610F8FFA6A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sp>
          <p:nvSpPr>
            <p:cNvPr id="74" name="Описание">
              <a:extLst>
                <a:ext uri="{FF2B5EF4-FFF2-40B4-BE49-F238E27FC236}">
                  <a16:creationId xmlns:a16="http://schemas.microsoft.com/office/drawing/2014/main" id="{E335E441-F896-402C-BF15-421BA5B551FA}"/>
                </a:ext>
              </a:extLst>
            </p:cNvPr>
            <p:cNvSpPr txBox="1"/>
            <p:nvPr/>
          </p:nvSpPr>
          <p:spPr>
            <a:xfrm>
              <a:off x="-5576106" y="-724420"/>
              <a:ext cx="4216445" cy="9248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Упрощение заполнения форм</a:t>
              </a:r>
            </a:p>
            <a:p>
              <a:pPr marL="457200" marR="0" lvl="0" indent="-45720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bg2"/>
                </a:buClr>
                <a:buSzTx/>
                <a:buFont typeface="+mj-lt"/>
                <a:buAutoNum type="arabicPeriod"/>
                <a:tabLst/>
                <a:defRPr/>
              </a:pPr>
              <a:r>
                <a:rPr lang="ru-RU" sz="1400" dirty="0">
                  <a:solidFill>
                    <a:srgbClr val="0D0D0D">
                      <a:lumMod val="75000"/>
                      <a:lumOff val="25000"/>
                    </a:srgbClr>
                  </a:solidFill>
                  <a:latin typeface="Roboto Light" panose="02000000000000000000" pitchFamily="2" charset="0"/>
                  <a:ea typeface="Roboto Light" panose="02000000000000000000" pitchFamily="2" charset="0"/>
                </a:rPr>
                <a:t>Возможность увидеть все продукты и услуги</a:t>
              </a:r>
            </a:p>
          </p:txBody>
        </p:sp>
      </p:grpSp>
      <p:grpSp>
        <p:nvGrpSpPr>
          <p:cNvPr id="124" name="Группа 123">
            <a:extLst>
              <a:ext uri="{FF2B5EF4-FFF2-40B4-BE49-F238E27FC236}">
                <a16:creationId xmlns:a16="http://schemas.microsoft.com/office/drawing/2014/main" id="{B81E315A-828B-4B56-AC1D-E67BD4DD7408}"/>
              </a:ext>
            </a:extLst>
          </p:cNvPr>
          <p:cNvGrpSpPr/>
          <p:nvPr/>
        </p:nvGrpSpPr>
        <p:grpSpPr>
          <a:xfrm>
            <a:off x="-3186517" y="2240422"/>
            <a:ext cx="2671511" cy="2394725"/>
            <a:chOff x="187405" y="2240422"/>
            <a:chExt cx="2671511" cy="2394725"/>
          </a:xfrm>
        </p:grpSpPr>
        <p:sp>
          <p:nvSpPr>
            <p:cNvPr id="125" name="Shape_фон">
              <a:extLst>
                <a:ext uri="{FF2B5EF4-FFF2-40B4-BE49-F238E27FC236}">
                  <a16:creationId xmlns:a16="http://schemas.microsoft.com/office/drawing/2014/main" id="{2C869E66-CB98-4288-9815-3B672DAD0E5B}"/>
                </a:ext>
              </a:extLst>
            </p:cNvPr>
            <p:cNvSpPr/>
            <p:nvPr/>
          </p:nvSpPr>
          <p:spPr>
            <a:xfrm>
              <a:off x="353680" y="2240422"/>
              <a:ext cx="2244096" cy="239472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26" name="Описание">
              <a:extLst>
                <a:ext uri="{FF2B5EF4-FFF2-40B4-BE49-F238E27FC236}">
                  <a16:creationId xmlns:a16="http://schemas.microsoft.com/office/drawing/2014/main" id="{135B65E2-ECF3-4FA0-819C-732B335301DE}"/>
                </a:ext>
              </a:extLst>
            </p:cNvPr>
            <p:cNvSpPr txBox="1"/>
            <p:nvPr/>
          </p:nvSpPr>
          <p:spPr>
            <a:xfrm>
              <a:off x="1045964" y="2358041"/>
              <a:ext cx="859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Бизнес</a:t>
              </a:r>
            </a:p>
          </p:txBody>
        </p:sp>
        <p:sp>
          <p:nvSpPr>
            <p:cNvPr id="127" name="Shape_фон">
              <a:extLst>
                <a:ext uri="{FF2B5EF4-FFF2-40B4-BE49-F238E27FC236}">
                  <a16:creationId xmlns:a16="http://schemas.microsoft.com/office/drawing/2014/main" id="{313B898A-C629-4AB6-BDE5-6E51A906E9EC}"/>
                </a:ext>
              </a:extLst>
            </p:cNvPr>
            <p:cNvSpPr/>
            <p:nvPr/>
          </p:nvSpPr>
          <p:spPr>
            <a:xfrm>
              <a:off x="187405" y="3791593"/>
              <a:ext cx="2671511" cy="8358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28" name="Группа 127">
              <a:extLst>
                <a:ext uri="{FF2B5EF4-FFF2-40B4-BE49-F238E27FC236}">
                  <a16:creationId xmlns:a16="http://schemas.microsoft.com/office/drawing/2014/main" id="{5BF2C35D-9BA2-4A13-BF58-07EB12DA82A6}"/>
                </a:ext>
              </a:extLst>
            </p:cNvPr>
            <p:cNvGrpSpPr/>
            <p:nvPr/>
          </p:nvGrpSpPr>
          <p:grpSpPr>
            <a:xfrm>
              <a:off x="1135014" y="4024689"/>
              <a:ext cx="858237" cy="468563"/>
              <a:chOff x="1299037" y="3101526"/>
              <a:chExt cx="1118376" cy="610588"/>
            </a:xfrm>
          </p:grpSpPr>
          <p:pic>
            <p:nvPicPr>
              <p:cNvPr id="142" name="Рисунок 141">
                <a:extLst>
                  <a:ext uri="{FF2B5EF4-FFF2-40B4-BE49-F238E27FC236}">
                    <a16:creationId xmlns:a16="http://schemas.microsoft.com/office/drawing/2014/main" id="{F08E79AE-B6F8-4D00-B078-B2003DF50EB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1299037" y="3101526"/>
                <a:ext cx="1089430" cy="610588"/>
              </a:xfrm>
              <a:prstGeom prst="rect">
                <a:avLst/>
              </a:prstGeom>
            </p:spPr>
          </p:pic>
          <p:sp>
            <p:nvSpPr>
              <p:cNvPr id="143" name="Описание">
                <a:extLst>
                  <a:ext uri="{FF2B5EF4-FFF2-40B4-BE49-F238E27FC236}">
                    <a16:creationId xmlns:a16="http://schemas.microsoft.com/office/drawing/2014/main" id="{E0A70F14-08F2-4405-8729-10ED1918CFF4}"/>
                  </a:ext>
                </a:extLst>
              </p:cNvPr>
              <p:cNvSpPr txBox="1"/>
              <p:nvPr/>
            </p:nvSpPr>
            <p:spPr>
              <a:xfrm>
                <a:off x="1857173" y="3107105"/>
                <a:ext cx="560240" cy="3409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SIM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29" name="Группа 128">
              <a:extLst>
                <a:ext uri="{FF2B5EF4-FFF2-40B4-BE49-F238E27FC236}">
                  <a16:creationId xmlns:a16="http://schemas.microsoft.com/office/drawing/2014/main" id="{EB30C39F-0BA8-4196-96F0-265D73B3EAC2}"/>
                </a:ext>
              </a:extLst>
            </p:cNvPr>
            <p:cNvGrpSpPr/>
            <p:nvPr/>
          </p:nvGrpSpPr>
          <p:grpSpPr>
            <a:xfrm>
              <a:off x="326918" y="4028103"/>
              <a:ext cx="784011" cy="501872"/>
              <a:chOff x="617365" y="3874512"/>
              <a:chExt cx="1081377" cy="692225"/>
            </a:xfrm>
          </p:grpSpPr>
          <p:pic>
            <p:nvPicPr>
              <p:cNvPr id="140" name="Рисунок 139">
                <a:extLst>
                  <a:ext uri="{FF2B5EF4-FFF2-40B4-BE49-F238E27FC236}">
                    <a16:creationId xmlns:a16="http://schemas.microsoft.com/office/drawing/2014/main" id="{C7E038EB-C6FC-4B77-AE32-89C1FE6435F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tretch>
                <a:fillRect/>
              </a:stretch>
            </p:blipFill>
            <p:spPr>
              <a:xfrm>
                <a:off x="637540" y="3874512"/>
                <a:ext cx="1061202" cy="649810"/>
              </a:xfrm>
              <a:prstGeom prst="rect">
                <a:avLst/>
              </a:prstGeom>
            </p:spPr>
          </p:pic>
          <p:sp>
            <p:nvSpPr>
              <p:cNvPr id="141" name="Описание">
                <a:extLst>
                  <a:ext uri="{FF2B5EF4-FFF2-40B4-BE49-F238E27FC236}">
                    <a16:creationId xmlns:a16="http://schemas.microsoft.com/office/drawing/2014/main" id="{041E5A23-762C-4415-AC1A-7A0393751CAC}"/>
                  </a:ext>
                </a:extLst>
              </p:cNvPr>
              <p:cNvSpPr txBox="1"/>
              <p:nvPr/>
            </p:nvSpPr>
            <p:spPr>
              <a:xfrm>
                <a:off x="617365" y="4174535"/>
                <a:ext cx="819973" cy="3922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ARD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30" name="Группа 129">
              <a:extLst>
                <a:ext uri="{FF2B5EF4-FFF2-40B4-BE49-F238E27FC236}">
                  <a16:creationId xmlns:a16="http://schemas.microsoft.com/office/drawing/2014/main" id="{7B75199A-CD11-4F2C-B8FF-5554E3D4DDCB}"/>
                </a:ext>
              </a:extLst>
            </p:cNvPr>
            <p:cNvGrpSpPr/>
            <p:nvPr/>
          </p:nvGrpSpPr>
          <p:grpSpPr>
            <a:xfrm>
              <a:off x="2015442" y="3984902"/>
              <a:ext cx="606419" cy="502270"/>
              <a:chOff x="5418342" y="2035427"/>
              <a:chExt cx="909135" cy="752996"/>
            </a:xfrm>
          </p:grpSpPr>
          <p:pic>
            <p:nvPicPr>
              <p:cNvPr id="132" name="Рисунок 131">
                <a:extLst>
                  <a:ext uri="{FF2B5EF4-FFF2-40B4-BE49-F238E27FC236}">
                    <a16:creationId xmlns:a16="http://schemas.microsoft.com/office/drawing/2014/main" id="{E776E7E5-F5DB-4C75-90B1-324AD445F0F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3383" y="2035427"/>
                <a:ext cx="614094" cy="752996"/>
              </a:xfrm>
              <a:prstGeom prst="rect">
                <a:avLst/>
              </a:prstGeom>
            </p:spPr>
          </p:pic>
          <p:grpSp>
            <p:nvGrpSpPr>
              <p:cNvPr id="133" name="Группа 132">
                <a:extLst>
                  <a:ext uri="{FF2B5EF4-FFF2-40B4-BE49-F238E27FC236}">
                    <a16:creationId xmlns:a16="http://schemas.microsoft.com/office/drawing/2014/main" id="{1CDC4613-5BC7-4952-B051-C9E0DA9E0E92}"/>
                  </a:ext>
                </a:extLst>
              </p:cNvPr>
              <p:cNvGrpSpPr/>
              <p:nvPr/>
            </p:nvGrpSpPr>
            <p:grpSpPr>
              <a:xfrm>
                <a:off x="5418342" y="2083431"/>
                <a:ext cx="673376" cy="690804"/>
                <a:chOff x="504301" y="2908240"/>
                <a:chExt cx="781089" cy="801306"/>
              </a:xfrm>
            </p:grpSpPr>
            <p:grpSp>
              <p:nvGrpSpPr>
                <p:cNvPr id="134" name="Рисунок 149">
                  <a:extLst>
                    <a:ext uri="{FF2B5EF4-FFF2-40B4-BE49-F238E27FC236}">
                      <a16:creationId xmlns:a16="http://schemas.microsoft.com/office/drawing/2014/main" id="{53CF44D6-787B-4903-B2AE-1B889327A84B}"/>
                    </a:ext>
                  </a:extLst>
                </p:cNvPr>
                <p:cNvGrpSpPr/>
                <p:nvPr/>
              </p:nvGrpSpPr>
              <p:grpSpPr>
                <a:xfrm>
                  <a:off x="604343" y="2908240"/>
                  <a:ext cx="613028" cy="801306"/>
                  <a:chOff x="703210" y="3059703"/>
                  <a:chExt cx="613028" cy="801306"/>
                </a:xfrm>
              </p:grpSpPr>
              <p:sp>
                <p:nvSpPr>
                  <p:cNvPr id="136" name="Полилиния: фигура 135">
                    <a:extLst>
                      <a:ext uri="{FF2B5EF4-FFF2-40B4-BE49-F238E27FC236}">
                        <a16:creationId xmlns:a16="http://schemas.microsoft.com/office/drawing/2014/main" id="{2DED0095-3D51-43C8-A236-568B82D512B6}"/>
                      </a:ext>
                    </a:extLst>
                  </p:cNvPr>
                  <p:cNvSpPr/>
                  <p:nvPr/>
                </p:nvSpPr>
                <p:spPr>
                  <a:xfrm>
                    <a:off x="703211" y="3059703"/>
                    <a:ext cx="612930" cy="801306"/>
                  </a:xfrm>
                  <a:custGeom>
                    <a:avLst/>
                    <a:gdLst>
                      <a:gd name="connsiteX0" fmla="*/ 551569 w 612930"/>
                      <a:gd name="connsiteY0" fmla="*/ 801209 h 801306"/>
                      <a:gd name="connsiteX1" fmla="*/ 61361 w 612930"/>
                      <a:gd name="connsiteY1" fmla="*/ 801209 h 801306"/>
                      <a:gd name="connsiteX2" fmla="*/ 0 w 612930"/>
                      <a:gd name="connsiteY2" fmla="*/ 739848 h 801306"/>
                      <a:gd name="connsiteX3" fmla="*/ 0 w 612930"/>
                      <a:gd name="connsiteY3" fmla="*/ 61361 h 801306"/>
                      <a:gd name="connsiteX4" fmla="*/ 61361 w 612930"/>
                      <a:gd name="connsiteY4" fmla="*/ 0 h 801306"/>
                      <a:gd name="connsiteX5" fmla="*/ 372265 w 612930"/>
                      <a:gd name="connsiteY5" fmla="*/ 0 h 801306"/>
                      <a:gd name="connsiteX6" fmla="*/ 612931 w 612930"/>
                      <a:gd name="connsiteY6" fmla="*/ 248079 h 801306"/>
                      <a:gd name="connsiteX7" fmla="*/ 612931 w 612930"/>
                      <a:gd name="connsiteY7" fmla="*/ 739945 h 801306"/>
                      <a:gd name="connsiteX8" fmla="*/ 551569 w 612930"/>
                      <a:gd name="connsiteY8" fmla="*/ 801307 h 801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801306">
                        <a:moveTo>
                          <a:pt x="551569" y="801209"/>
                        </a:moveTo>
                        <a:lnTo>
                          <a:pt x="61361" y="801209"/>
                        </a:lnTo>
                        <a:cubicBezTo>
                          <a:pt x="27510" y="801209"/>
                          <a:pt x="0" y="773699"/>
                          <a:pt x="0" y="739848"/>
                        </a:cubicBezTo>
                        <a:lnTo>
                          <a:pt x="0" y="61361"/>
                        </a:lnTo>
                        <a:cubicBezTo>
                          <a:pt x="0" y="27510"/>
                          <a:pt x="27510" y="0"/>
                          <a:pt x="61361" y="0"/>
                        </a:cubicBezTo>
                        <a:lnTo>
                          <a:pt x="372265" y="0"/>
                        </a:lnTo>
                        <a:lnTo>
                          <a:pt x="612931" y="248079"/>
                        </a:lnTo>
                        <a:lnTo>
                          <a:pt x="612931" y="739945"/>
                        </a:lnTo>
                        <a:cubicBezTo>
                          <a:pt x="612931" y="773797"/>
                          <a:pt x="585420" y="801307"/>
                          <a:pt x="551569" y="801307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37" name="Полилиния: фигура 136">
                    <a:extLst>
                      <a:ext uri="{FF2B5EF4-FFF2-40B4-BE49-F238E27FC236}">
                        <a16:creationId xmlns:a16="http://schemas.microsoft.com/office/drawing/2014/main" id="{D93A6BC5-4391-487D-B19C-125BC88F40D0}"/>
                      </a:ext>
                    </a:extLst>
                  </p:cNvPr>
                  <p:cNvSpPr/>
                  <p:nvPr/>
                </p:nvSpPr>
                <p:spPr>
                  <a:xfrm>
                    <a:off x="703210" y="3617810"/>
                    <a:ext cx="612928" cy="243104"/>
                  </a:xfrm>
                  <a:custGeom>
                    <a:avLst/>
                    <a:gdLst>
                      <a:gd name="connsiteX0" fmla="*/ 12097 w 612930"/>
                      <a:gd name="connsiteY0" fmla="*/ 0 h 243104"/>
                      <a:gd name="connsiteX1" fmla="*/ 600834 w 612930"/>
                      <a:gd name="connsiteY1" fmla="*/ 0 h 243104"/>
                      <a:gd name="connsiteX2" fmla="*/ 612931 w 612930"/>
                      <a:gd name="connsiteY2" fmla="*/ 12097 h 243104"/>
                      <a:gd name="connsiteX3" fmla="*/ 612931 w 612930"/>
                      <a:gd name="connsiteY3" fmla="*/ 179889 h 243104"/>
                      <a:gd name="connsiteX4" fmla="*/ 549716 w 612930"/>
                      <a:gd name="connsiteY4" fmla="*/ 243104 h 243104"/>
                      <a:gd name="connsiteX5" fmla="*/ 63215 w 612930"/>
                      <a:gd name="connsiteY5" fmla="*/ 243104 h 243104"/>
                      <a:gd name="connsiteX6" fmla="*/ 0 w 612930"/>
                      <a:gd name="connsiteY6" fmla="*/ 179889 h 243104"/>
                      <a:gd name="connsiteX7" fmla="*/ 0 w 612930"/>
                      <a:gd name="connsiteY7" fmla="*/ 12097 h 243104"/>
                      <a:gd name="connsiteX8" fmla="*/ 12097 w 612930"/>
                      <a:gd name="connsiteY8" fmla="*/ 0 h 24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243104">
                        <a:moveTo>
                          <a:pt x="12097" y="0"/>
                        </a:moveTo>
                        <a:lnTo>
                          <a:pt x="600834" y="0"/>
                        </a:lnTo>
                        <a:cubicBezTo>
                          <a:pt x="607468" y="0"/>
                          <a:pt x="612931" y="5463"/>
                          <a:pt x="612931" y="12097"/>
                        </a:cubicBezTo>
                        <a:lnTo>
                          <a:pt x="612931" y="179889"/>
                        </a:lnTo>
                        <a:cubicBezTo>
                          <a:pt x="612931" y="214813"/>
                          <a:pt x="584640" y="243104"/>
                          <a:pt x="549716" y="243104"/>
                        </a:cubicBezTo>
                        <a:lnTo>
                          <a:pt x="63215" y="243104"/>
                        </a:lnTo>
                        <a:cubicBezTo>
                          <a:pt x="28291" y="243104"/>
                          <a:pt x="0" y="214813"/>
                          <a:pt x="0" y="179889"/>
                        </a:cubicBezTo>
                        <a:lnTo>
                          <a:pt x="0" y="12097"/>
                        </a:lnTo>
                        <a:cubicBezTo>
                          <a:pt x="0" y="5463"/>
                          <a:pt x="5463" y="0"/>
                          <a:pt x="12097" y="0"/>
                        </a:cubicBezTo>
                        <a:close/>
                      </a:path>
                    </a:pathLst>
                  </a:custGeom>
                  <a:solidFill>
                    <a:srgbClr val="7C2323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38" name="Полилиния: фигура 137">
                    <a:extLst>
                      <a:ext uri="{FF2B5EF4-FFF2-40B4-BE49-F238E27FC236}">
                        <a16:creationId xmlns:a16="http://schemas.microsoft.com/office/drawing/2014/main" id="{0BAE87FE-A6B1-4272-801D-06AFF70D02AC}"/>
                      </a:ext>
                    </a:extLst>
                  </p:cNvPr>
                  <p:cNvSpPr/>
                  <p:nvPr/>
                </p:nvSpPr>
                <p:spPr>
                  <a:xfrm>
                    <a:off x="1075476" y="3059703"/>
                    <a:ext cx="240665" cy="248079"/>
                  </a:xfrm>
                  <a:custGeom>
                    <a:avLst/>
                    <a:gdLst>
                      <a:gd name="connsiteX0" fmla="*/ 0 w 240665"/>
                      <a:gd name="connsiteY0" fmla="*/ 0 h 248079"/>
                      <a:gd name="connsiteX1" fmla="*/ 0 w 240665"/>
                      <a:gd name="connsiteY1" fmla="*/ 191010 h 248079"/>
                      <a:gd name="connsiteX2" fmla="*/ 57069 w 240665"/>
                      <a:gd name="connsiteY2" fmla="*/ 248079 h 248079"/>
                      <a:gd name="connsiteX3" fmla="*/ 240665 w 240665"/>
                      <a:gd name="connsiteY3" fmla="*/ 248079 h 248079"/>
                      <a:gd name="connsiteX4" fmla="*/ 0 w 240665"/>
                      <a:gd name="connsiteY4" fmla="*/ 0 h 2480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0665" h="248079">
                        <a:moveTo>
                          <a:pt x="0" y="0"/>
                        </a:moveTo>
                        <a:lnTo>
                          <a:pt x="0" y="191010"/>
                        </a:lnTo>
                        <a:cubicBezTo>
                          <a:pt x="0" y="222520"/>
                          <a:pt x="25559" y="248079"/>
                          <a:pt x="57069" y="248079"/>
                        </a:cubicBezTo>
                        <a:lnTo>
                          <a:pt x="240665" y="248079"/>
                        </a:lnTo>
                        <a:cubicBezTo>
                          <a:pt x="240665" y="248079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39" name="Полилиния: фигура 138">
                    <a:extLst>
                      <a:ext uri="{FF2B5EF4-FFF2-40B4-BE49-F238E27FC236}">
                        <a16:creationId xmlns:a16="http://schemas.microsoft.com/office/drawing/2014/main" id="{88F113E5-A342-4796-B9B9-992C3F3A5A75}"/>
                      </a:ext>
                    </a:extLst>
                  </p:cNvPr>
                  <p:cNvSpPr/>
                  <p:nvPr/>
                </p:nvSpPr>
                <p:spPr>
                  <a:xfrm>
                    <a:off x="1077995" y="3267395"/>
                    <a:ext cx="238243" cy="92019"/>
                  </a:xfrm>
                  <a:custGeom>
                    <a:avLst/>
                    <a:gdLst>
                      <a:gd name="connsiteX0" fmla="*/ 17 w 238243"/>
                      <a:gd name="connsiteY0" fmla="*/ 0 h 92019"/>
                      <a:gd name="connsiteX1" fmla="*/ 50355 w 238243"/>
                      <a:gd name="connsiteY1" fmla="*/ 61556 h 92019"/>
                      <a:gd name="connsiteX2" fmla="*/ 56404 w 238243"/>
                      <a:gd name="connsiteY2" fmla="*/ 62922 h 92019"/>
                      <a:gd name="connsiteX3" fmla="*/ 238244 w 238243"/>
                      <a:gd name="connsiteY3" fmla="*/ 91701 h 92019"/>
                      <a:gd name="connsiteX4" fmla="*/ 238244 w 238243"/>
                      <a:gd name="connsiteY4" fmla="*/ 40387 h 92019"/>
                      <a:gd name="connsiteX5" fmla="*/ 54648 w 238243"/>
                      <a:gd name="connsiteY5" fmla="*/ 40387 h 92019"/>
                      <a:gd name="connsiteX6" fmla="*/ 115 w 238243"/>
                      <a:gd name="connsiteY6" fmla="*/ 98 h 92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8243" h="92019">
                        <a:moveTo>
                          <a:pt x="17" y="0"/>
                        </a:moveTo>
                        <a:cubicBezTo>
                          <a:pt x="17" y="0"/>
                          <a:pt x="-2421" y="46338"/>
                          <a:pt x="50355" y="61556"/>
                        </a:cubicBezTo>
                        <a:cubicBezTo>
                          <a:pt x="52306" y="62142"/>
                          <a:pt x="54355" y="62532"/>
                          <a:pt x="56404" y="62922"/>
                        </a:cubicBezTo>
                        <a:cubicBezTo>
                          <a:pt x="80402" y="67215"/>
                          <a:pt x="238244" y="95310"/>
                          <a:pt x="238244" y="91701"/>
                        </a:cubicBezTo>
                        <a:lnTo>
                          <a:pt x="238244" y="40387"/>
                        </a:lnTo>
                        <a:lnTo>
                          <a:pt x="54648" y="40387"/>
                        </a:lnTo>
                        <a:cubicBezTo>
                          <a:pt x="54648" y="40387"/>
                          <a:pt x="8797" y="38826"/>
                          <a:pt x="115" y="98"/>
                        </a:cubicBezTo>
                        <a:close/>
                      </a:path>
                    </a:pathLst>
                  </a:custGeom>
                  <a:solidFill>
                    <a:srgbClr val="C00000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35" name="Описание">
                  <a:extLst>
                    <a:ext uri="{FF2B5EF4-FFF2-40B4-BE49-F238E27FC236}">
                      <a16:creationId xmlns:a16="http://schemas.microsoft.com/office/drawing/2014/main" id="{18285E99-DC7F-4843-9B51-13F41E8506CD}"/>
                    </a:ext>
                  </a:extLst>
                </p:cNvPr>
                <p:cNvSpPr txBox="1"/>
                <p:nvPr/>
              </p:nvSpPr>
              <p:spPr>
                <a:xfrm>
                  <a:off x="504301" y="3181235"/>
                  <a:ext cx="781089" cy="3211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ОЛИС</a:t>
                  </a:r>
                  <a:endPara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</p:grpSp>
        <p:pic>
          <p:nvPicPr>
            <p:cNvPr id="131" name="Рисунок 130">
              <a:extLst>
                <a:ext uri="{FF2B5EF4-FFF2-40B4-BE49-F238E27FC236}">
                  <a16:creationId xmlns:a16="http://schemas.microsoft.com/office/drawing/2014/main" id="{79D92B9E-4126-43B6-A906-881F8D7B4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20939646">
              <a:off x="1009014" y="2794890"/>
              <a:ext cx="914830" cy="856746"/>
            </a:xfrm>
            <a:prstGeom prst="rect">
              <a:avLst/>
            </a:prstGeom>
          </p:spPr>
        </p:pic>
      </p:grpSp>
      <p:grpSp>
        <p:nvGrpSpPr>
          <p:cNvPr id="144" name="Группа 143">
            <a:extLst>
              <a:ext uri="{FF2B5EF4-FFF2-40B4-BE49-F238E27FC236}">
                <a16:creationId xmlns:a16="http://schemas.microsoft.com/office/drawing/2014/main" id="{8BBD31A5-E9B9-40B9-9692-56A548FAD01E}"/>
              </a:ext>
            </a:extLst>
          </p:cNvPr>
          <p:cNvGrpSpPr/>
          <p:nvPr/>
        </p:nvGrpSpPr>
        <p:grpSpPr>
          <a:xfrm>
            <a:off x="12742300" y="2240125"/>
            <a:ext cx="2244096" cy="2395022"/>
            <a:chOff x="9598897" y="2240125"/>
            <a:chExt cx="2244096" cy="2395022"/>
          </a:xfrm>
        </p:grpSpPr>
        <p:sp>
          <p:nvSpPr>
            <p:cNvPr id="145" name="Shape_фон">
              <a:extLst>
                <a:ext uri="{FF2B5EF4-FFF2-40B4-BE49-F238E27FC236}">
                  <a16:creationId xmlns:a16="http://schemas.microsoft.com/office/drawing/2014/main" id="{7190304C-4375-4795-9B09-5D4ABCDCBB77}"/>
                </a:ext>
              </a:extLst>
            </p:cNvPr>
            <p:cNvSpPr/>
            <p:nvPr/>
          </p:nvSpPr>
          <p:spPr>
            <a:xfrm>
              <a:off x="9598897" y="2240125"/>
              <a:ext cx="2244096" cy="23950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46" name="Описание">
              <a:extLst>
                <a:ext uri="{FF2B5EF4-FFF2-40B4-BE49-F238E27FC236}">
                  <a16:creationId xmlns:a16="http://schemas.microsoft.com/office/drawing/2014/main" id="{948EE555-2719-464F-82F4-064D9EBBCFDF}"/>
                </a:ext>
              </a:extLst>
            </p:cNvPr>
            <p:cNvSpPr txBox="1"/>
            <p:nvPr/>
          </p:nvSpPr>
          <p:spPr>
            <a:xfrm>
              <a:off x="9815863" y="2390787"/>
              <a:ext cx="18085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Стадия 3</a:t>
              </a:r>
            </a:p>
          </p:txBody>
        </p:sp>
        <p:pic>
          <p:nvPicPr>
            <p:cNvPr id="147" name="Рисунок 146">
              <a:extLst>
                <a:ext uri="{FF2B5EF4-FFF2-40B4-BE49-F238E27FC236}">
                  <a16:creationId xmlns:a16="http://schemas.microsoft.com/office/drawing/2014/main" id="{A9E5A857-669B-4A68-BE08-76CFF5AC673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 t="701" b="701"/>
            <a:stretch/>
          </p:blipFill>
          <p:spPr>
            <a:xfrm>
              <a:off x="9953967" y="2745025"/>
              <a:ext cx="1553687" cy="1890122"/>
            </a:xfrm>
            <a:custGeom>
              <a:avLst/>
              <a:gdLst>
                <a:gd name="connsiteX0" fmla="*/ 0 w 1520740"/>
                <a:gd name="connsiteY0" fmla="*/ 0 h 1828795"/>
                <a:gd name="connsiteX1" fmla="*/ 1520740 w 1520740"/>
                <a:gd name="connsiteY1" fmla="*/ 0 h 1828795"/>
                <a:gd name="connsiteX2" fmla="*/ 1520740 w 1520740"/>
                <a:gd name="connsiteY2" fmla="*/ 1828795 h 1828795"/>
                <a:gd name="connsiteX3" fmla="*/ 0 w 1520740"/>
                <a:gd name="connsiteY3" fmla="*/ 1828795 h 182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0740" h="1828795">
                  <a:moveTo>
                    <a:pt x="0" y="0"/>
                  </a:moveTo>
                  <a:lnTo>
                    <a:pt x="1520740" y="0"/>
                  </a:lnTo>
                  <a:lnTo>
                    <a:pt x="1520740" y="1828795"/>
                  </a:lnTo>
                  <a:lnTo>
                    <a:pt x="0" y="1828795"/>
                  </a:lnTo>
                  <a:close/>
                </a:path>
              </a:pathLst>
            </a:custGeom>
          </p:spPr>
        </p:pic>
      </p:grpSp>
    </p:spTree>
    <p:custDataLst>
      <p:tags r:id="rId1"/>
    </p:custDataLst>
    <p:extLst>
      <p:ext uri="{BB962C8B-B14F-4D97-AF65-F5344CB8AC3E}">
        <p14:creationId xmlns:p14="http://schemas.microsoft.com/office/powerpoint/2010/main" val="346733485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Группа 117" hidden="1">
            <a:extLst>
              <a:ext uri="{FF2B5EF4-FFF2-40B4-BE49-F238E27FC236}">
                <a16:creationId xmlns:a16="http://schemas.microsoft.com/office/drawing/2014/main" id="{5BE797B1-B453-473E-886C-447E17F35766}"/>
              </a:ext>
            </a:extLst>
          </p:cNvPr>
          <p:cNvGrpSpPr/>
          <p:nvPr/>
        </p:nvGrpSpPr>
        <p:grpSpPr>
          <a:xfrm>
            <a:off x="3658147" y="3722394"/>
            <a:ext cx="4544168" cy="1534261"/>
            <a:chOff x="2623549" y="2268808"/>
            <a:chExt cx="7107333" cy="2399670"/>
          </a:xfrm>
        </p:grpSpPr>
        <p:grpSp>
          <p:nvGrpSpPr>
            <p:cNvPr id="119" name="Группа 118">
              <a:extLst>
                <a:ext uri="{FF2B5EF4-FFF2-40B4-BE49-F238E27FC236}">
                  <a16:creationId xmlns:a16="http://schemas.microsoft.com/office/drawing/2014/main" id="{AA404B29-49CA-4816-A387-75374C04B959}"/>
                </a:ext>
              </a:extLst>
            </p:cNvPr>
            <p:cNvGrpSpPr/>
            <p:nvPr/>
          </p:nvGrpSpPr>
          <p:grpSpPr>
            <a:xfrm>
              <a:off x="6987618" y="2405417"/>
              <a:ext cx="447617" cy="888974"/>
              <a:chOff x="6987618" y="2405417"/>
              <a:chExt cx="447617" cy="888974"/>
            </a:xfrm>
          </p:grpSpPr>
          <p:pic>
            <p:nvPicPr>
              <p:cNvPr id="168" name="Рисунок 167">
                <a:extLst>
                  <a:ext uri="{FF2B5EF4-FFF2-40B4-BE49-F238E27FC236}">
                    <a16:creationId xmlns:a16="http://schemas.microsoft.com/office/drawing/2014/main" id="{BCB0A158-9546-4B57-BDED-2ACB7CFABEF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169" name="Рисунок 168">
                <a:extLst>
                  <a:ext uri="{FF2B5EF4-FFF2-40B4-BE49-F238E27FC236}">
                    <a16:creationId xmlns:a16="http://schemas.microsoft.com/office/drawing/2014/main" id="{3478289E-A71F-4D5B-88ED-E85FC83074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145" name="Рисунок 144">
              <a:extLst>
                <a:ext uri="{FF2B5EF4-FFF2-40B4-BE49-F238E27FC236}">
                  <a16:creationId xmlns:a16="http://schemas.microsoft.com/office/drawing/2014/main" id="{C85E5B82-AEEA-46E3-ABC5-E4BFB1C44D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2" r="22"/>
            <a:stretch/>
          </p:blipFill>
          <p:spPr>
            <a:xfrm rot="5400000">
              <a:off x="3454949" y="2325423"/>
              <a:ext cx="581295" cy="2244096"/>
            </a:xfrm>
            <a:prstGeom prst="rect">
              <a:avLst/>
            </a:prstGeom>
          </p:spPr>
        </p:pic>
        <p:pic>
          <p:nvPicPr>
            <p:cNvPr id="146" name="Рисунок 145">
              <a:extLst>
                <a:ext uri="{FF2B5EF4-FFF2-40B4-BE49-F238E27FC236}">
                  <a16:creationId xmlns:a16="http://schemas.microsoft.com/office/drawing/2014/main" id="{2EC783AE-2141-45BC-BDA9-09B26DA9351E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1403841"/>
              <a:ext cx="570791" cy="2300726"/>
            </a:xfrm>
            <a:prstGeom prst="rect">
              <a:avLst/>
            </a:prstGeom>
          </p:spPr>
        </p:pic>
        <p:pic>
          <p:nvPicPr>
            <p:cNvPr id="150" name="Рисунок 149">
              <a:extLst>
                <a:ext uri="{FF2B5EF4-FFF2-40B4-BE49-F238E27FC236}">
                  <a16:creationId xmlns:a16="http://schemas.microsoft.com/office/drawing/2014/main" id="{CCA0FC47-33D0-45ED-94E6-321D8309C08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2014641"/>
              <a:ext cx="570791" cy="2300726"/>
            </a:xfrm>
            <a:prstGeom prst="rect">
              <a:avLst/>
            </a:prstGeom>
          </p:spPr>
        </p:pic>
        <p:pic>
          <p:nvPicPr>
            <p:cNvPr id="151" name="Рисунок 150">
              <a:extLst>
                <a:ext uri="{FF2B5EF4-FFF2-40B4-BE49-F238E27FC236}">
                  <a16:creationId xmlns:a16="http://schemas.microsoft.com/office/drawing/2014/main" id="{05750861-2530-4AF8-A099-4F32390D9B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2609159"/>
              <a:ext cx="570791" cy="2300726"/>
            </a:xfrm>
            <a:prstGeom prst="rect">
              <a:avLst/>
            </a:prstGeom>
          </p:spPr>
        </p:pic>
        <p:pic>
          <p:nvPicPr>
            <p:cNvPr id="152" name="Рисунок 151">
              <a:extLst>
                <a:ext uri="{FF2B5EF4-FFF2-40B4-BE49-F238E27FC236}">
                  <a16:creationId xmlns:a16="http://schemas.microsoft.com/office/drawing/2014/main" id="{B14BCDD1-01CD-4F86-B473-621C695A7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3232720"/>
              <a:ext cx="570791" cy="2300726"/>
            </a:xfrm>
            <a:prstGeom prst="rect">
              <a:avLst/>
            </a:prstGeom>
          </p:spPr>
        </p:pic>
        <p:grpSp>
          <p:nvGrpSpPr>
            <p:cNvPr id="158" name="Группа 157">
              <a:extLst>
                <a:ext uri="{FF2B5EF4-FFF2-40B4-BE49-F238E27FC236}">
                  <a16:creationId xmlns:a16="http://schemas.microsoft.com/office/drawing/2014/main" id="{E9E0E46B-F5E2-42F5-A723-7D42BEC233EC}"/>
                </a:ext>
              </a:extLst>
            </p:cNvPr>
            <p:cNvGrpSpPr/>
            <p:nvPr/>
          </p:nvGrpSpPr>
          <p:grpSpPr>
            <a:xfrm>
              <a:off x="6989285" y="3587116"/>
              <a:ext cx="447617" cy="888974"/>
              <a:chOff x="6987618" y="2405417"/>
              <a:chExt cx="447617" cy="888974"/>
            </a:xfrm>
          </p:grpSpPr>
          <p:pic>
            <p:nvPicPr>
              <p:cNvPr id="165" name="Рисунок 164">
                <a:extLst>
                  <a:ext uri="{FF2B5EF4-FFF2-40B4-BE49-F238E27FC236}">
                    <a16:creationId xmlns:a16="http://schemas.microsoft.com/office/drawing/2014/main" id="{3813FA8E-81FC-4362-A4DE-1D2413F5D74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166" name="Рисунок 165">
                <a:extLst>
                  <a:ext uri="{FF2B5EF4-FFF2-40B4-BE49-F238E27FC236}">
                    <a16:creationId xmlns:a16="http://schemas.microsoft.com/office/drawing/2014/main" id="{079F935F-FB43-482C-970B-F784CE9278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159" name="Рисунок 158">
              <a:extLst>
                <a:ext uri="{FF2B5EF4-FFF2-40B4-BE49-F238E27FC236}">
                  <a16:creationId xmlns:a16="http://schemas.microsoft.com/office/drawing/2014/main" id="{9606FBA4-1518-4EF1-987D-C72B7A44ED8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2" r="22"/>
            <a:stretch/>
          </p:blipFill>
          <p:spPr>
            <a:xfrm rot="16200000">
              <a:off x="5677114" y="2271462"/>
              <a:ext cx="581295" cy="2244096"/>
            </a:xfrm>
            <a:prstGeom prst="rect">
              <a:avLst/>
            </a:prstGeom>
          </p:spPr>
        </p:pic>
        <p:sp>
          <p:nvSpPr>
            <p:cNvPr id="160" name="Shape_фон">
              <a:extLst>
                <a:ext uri="{FF2B5EF4-FFF2-40B4-BE49-F238E27FC236}">
                  <a16:creationId xmlns:a16="http://schemas.microsoft.com/office/drawing/2014/main" id="{87A093D3-CE64-41BE-80CA-A1B8BE7010CC}"/>
                </a:ext>
              </a:extLst>
            </p:cNvPr>
            <p:cNvSpPr/>
            <p:nvPr/>
          </p:nvSpPr>
          <p:spPr>
            <a:xfrm>
              <a:off x="4162809" y="2994758"/>
              <a:ext cx="1356099" cy="76149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700" dirty="0">
                  <a:solidFill>
                    <a:schemeClr val="bg2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клиент»</a:t>
              </a:r>
              <a:endParaRPr kumimoji="0" lang="ru-RU" sz="7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61" name="Shape_фон">
              <a:extLst>
                <a:ext uri="{FF2B5EF4-FFF2-40B4-BE49-F238E27FC236}">
                  <a16:creationId xmlns:a16="http://schemas.microsoft.com/office/drawing/2014/main" id="{A86DD18C-3323-4B6B-8046-563850A6F379}"/>
                </a:ext>
              </a:extLst>
            </p:cNvPr>
            <p:cNvSpPr/>
            <p:nvPr/>
          </p:nvSpPr>
          <p:spPr>
            <a:xfrm>
              <a:off x="7940470" y="2292928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ПОД/ФТ»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62" name="Shape_фон">
              <a:extLst>
                <a:ext uri="{FF2B5EF4-FFF2-40B4-BE49-F238E27FC236}">
                  <a16:creationId xmlns:a16="http://schemas.microsoft.com/office/drawing/2014/main" id="{C5540A70-6262-4634-9DB1-F54B0B92A6E9}"/>
                </a:ext>
              </a:extLst>
            </p:cNvPr>
            <p:cNvSpPr/>
            <p:nvPr/>
          </p:nvSpPr>
          <p:spPr>
            <a:xfrm>
              <a:off x="7940470" y="2909444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ЦУС»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63" name="Shape_фон">
              <a:extLst>
                <a:ext uri="{FF2B5EF4-FFF2-40B4-BE49-F238E27FC236}">
                  <a16:creationId xmlns:a16="http://schemas.microsoft.com/office/drawing/2014/main" id="{78548556-C122-4A4A-A6E4-CE1569E74E19}"/>
                </a:ext>
              </a:extLst>
            </p:cNvPr>
            <p:cNvSpPr/>
            <p:nvPr/>
          </p:nvSpPr>
          <p:spPr>
            <a:xfrm>
              <a:off x="7940470" y="3497590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ГРЮЛ Про»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64" name="Shape_фон">
              <a:extLst>
                <a:ext uri="{FF2B5EF4-FFF2-40B4-BE49-F238E27FC236}">
                  <a16:creationId xmlns:a16="http://schemas.microsoft.com/office/drawing/2014/main" id="{809B9970-9627-4ECE-A7F7-A25FF8CD7905}"/>
                </a:ext>
              </a:extLst>
            </p:cNvPr>
            <p:cNvSpPr/>
            <p:nvPr/>
          </p:nvSpPr>
          <p:spPr>
            <a:xfrm>
              <a:off x="7940470" y="4107987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6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адрес»</a:t>
              </a:r>
              <a:endParaRPr kumimoji="0" lang="ru-RU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</p:grp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356611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15136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sp>
        <p:nvSpPr>
          <p:cNvPr id="85" name="Описание">
            <a:extLst>
              <a:ext uri="{FF2B5EF4-FFF2-40B4-BE49-F238E27FC236}">
                <a16:creationId xmlns:a16="http://schemas.microsoft.com/office/drawing/2014/main" id="{0742915A-706D-4A94-BA0E-B3D7D31ECA9A}"/>
              </a:ext>
            </a:extLst>
          </p:cNvPr>
          <p:cNvSpPr txBox="1"/>
          <p:nvPr/>
        </p:nvSpPr>
        <p:spPr>
          <a:xfrm>
            <a:off x="5543637" y="5562259"/>
            <a:ext cx="10214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D0D0D">
                    <a:lumMod val="75000"/>
                    <a:lumOff val="2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Барь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D0D0D">
                  <a:lumMod val="75000"/>
                  <a:lumOff val="25000"/>
                </a:srgbClr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E2FE2789-E66A-4FD4-920B-D27BC45CD153}"/>
              </a:ext>
            </a:extLst>
          </p:cNvPr>
          <p:cNvGrpSpPr/>
          <p:nvPr/>
        </p:nvGrpSpPr>
        <p:grpSpPr>
          <a:xfrm>
            <a:off x="2757997" y="2296867"/>
            <a:ext cx="6708345" cy="2795833"/>
            <a:chOff x="2757997" y="2296867"/>
            <a:chExt cx="6708345" cy="2795833"/>
          </a:xfrm>
        </p:grpSpPr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id="{68B3463B-CB55-46B6-AB76-ECF829BBEC52}"/>
                </a:ext>
              </a:extLst>
            </p:cNvPr>
            <p:cNvCxnSpPr>
              <a:cxnSpLocks/>
              <a:stCxn id="69" idx="2"/>
            </p:cNvCxnSpPr>
            <p:nvPr/>
          </p:nvCxnSpPr>
          <p:spPr>
            <a:xfrm>
              <a:off x="3427354" y="2521358"/>
              <a:ext cx="0" cy="235332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Прямая соединительная линия 58">
              <a:extLst>
                <a:ext uri="{FF2B5EF4-FFF2-40B4-BE49-F238E27FC236}">
                  <a16:creationId xmlns:a16="http://schemas.microsoft.com/office/drawing/2014/main" id="{F9778C65-A66E-44CA-A0CF-7E802FF93A56}"/>
                </a:ext>
              </a:extLst>
            </p:cNvPr>
            <p:cNvCxnSpPr>
              <a:cxnSpLocks/>
              <a:stCxn id="87" idx="2"/>
            </p:cNvCxnSpPr>
            <p:nvPr/>
          </p:nvCxnSpPr>
          <p:spPr>
            <a:xfrm>
              <a:off x="4297868" y="3018414"/>
              <a:ext cx="133" cy="192823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Прямая соединительная линия 97">
              <a:extLst>
                <a:ext uri="{FF2B5EF4-FFF2-40B4-BE49-F238E27FC236}">
                  <a16:creationId xmlns:a16="http://schemas.microsoft.com/office/drawing/2014/main" id="{12E53CE7-6B75-4991-9735-0BD04D6F410A}"/>
                </a:ext>
              </a:extLst>
            </p:cNvPr>
            <p:cNvCxnSpPr>
              <a:cxnSpLocks/>
              <a:stCxn id="100" idx="2"/>
            </p:cNvCxnSpPr>
            <p:nvPr/>
          </p:nvCxnSpPr>
          <p:spPr>
            <a:xfrm>
              <a:off x="5192528" y="2580095"/>
              <a:ext cx="0" cy="251260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Прямая соединительная линия 107">
              <a:extLst>
                <a:ext uri="{FF2B5EF4-FFF2-40B4-BE49-F238E27FC236}">
                  <a16:creationId xmlns:a16="http://schemas.microsoft.com/office/drawing/2014/main" id="{7BC216BB-274B-4898-B738-6BC5B5C6B3D0}"/>
                </a:ext>
              </a:extLst>
            </p:cNvPr>
            <p:cNvCxnSpPr>
              <a:cxnSpLocks/>
              <a:stCxn id="110" idx="2"/>
            </p:cNvCxnSpPr>
            <p:nvPr/>
          </p:nvCxnSpPr>
          <p:spPr>
            <a:xfrm>
              <a:off x="6010515" y="3175412"/>
              <a:ext cx="0" cy="1699271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Прямая соединительная линия 125">
              <a:extLst>
                <a:ext uri="{FF2B5EF4-FFF2-40B4-BE49-F238E27FC236}">
                  <a16:creationId xmlns:a16="http://schemas.microsoft.com/office/drawing/2014/main" id="{B5350F49-1550-41C1-AA78-37EF1DD84455}"/>
                </a:ext>
              </a:extLst>
            </p:cNvPr>
            <p:cNvCxnSpPr>
              <a:cxnSpLocks/>
              <a:stCxn id="122" idx="2"/>
            </p:cNvCxnSpPr>
            <p:nvPr/>
          </p:nvCxnSpPr>
          <p:spPr>
            <a:xfrm>
              <a:off x="6910816" y="2521358"/>
              <a:ext cx="0" cy="253578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Прямая соединительная линия 127">
              <a:extLst>
                <a:ext uri="{FF2B5EF4-FFF2-40B4-BE49-F238E27FC236}">
                  <a16:creationId xmlns:a16="http://schemas.microsoft.com/office/drawing/2014/main" id="{E0E061B0-22E7-4C9B-8CA2-C7384A6182D3}"/>
                </a:ext>
              </a:extLst>
            </p:cNvPr>
            <p:cNvCxnSpPr>
              <a:cxnSpLocks/>
              <a:stCxn id="130" idx="2"/>
            </p:cNvCxnSpPr>
            <p:nvPr/>
          </p:nvCxnSpPr>
          <p:spPr>
            <a:xfrm>
              <a:off x="7803647" y="3018414"/>
              <a:ext cx="0" cy="192823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Прямая соединительная линия 136">
              <a:extLst>
                <a:ext uri="{FF2B5EF4-FFF2-40B4-BE49-F238E27FC236}">
                  <a16:creationId xmlns:a16="http://schemas.microsoft.com/office/drawing/2014/main" id="{3B3309EF-6CB6-455B-A80E-556DC3F27368}"/>
                </a:ext>
              </a:extLst>
            </p:cNvPr>
            <p:cNvCxnSpPr>
              <a:cxnSpLocks/>
              <a:stCxn id="139" idx="2"/>
            </p:cNvCxnSpPr>
            <p:nvPr/>
          </p:nvCxnSpPr>
          <p:spPr>
            <a:xfrm>
              <a:off x="8796985" y="2580095"/>
              <a:ext cx="0" cy="238878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68" name="Группа 67">
              <a:extLst>
                <a:ext uri="{FF2B5EF4-FFF2-40B4-BE49-F238E27FC236}">
                  <a16:creationId xmlns:a16="http://schemas.microsoft.com/office/drawing/2014/main" id="{DF653A38-0A3B-4091-BB2A-23412F8FD447}"/>
                </a:ext>
              </a:extLst>
            </p:cNvPr>
            <p:cNvGrpSpPr/>
            <p:nvPr/>
          </p:nvGrpSpPr>
          <p:grpSpPr>
            <a:xfrm>
              <a:off x="2757997" y="2296867"/>
              <a:ext cx="1338714" cy="224491"/>
              <a:chOff x="6510195" y="1556711"/>
              <a:chExt cx="5051622" cy="847113"/>
            </a:xfrm>
          </p:grpSpPr>
          <p:sp>
            <p:nvSpPr>
              <p:cNvPr id="69" name="Rounded Rectangle">
                <a:extLst>
                  <a:ext uri="{FF2B5EF4-FFF2-40B4-BE49-F238E27FC236}">
                    <a16:creationId xmlns:a16="http://schemas.microsoft.com/office/drawing/2014/main" id="{1F120190-8F49-4275-85FB-E32EB89790A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70" name="Motion design">
                <a:extLst>
                  <a:ext uri="{FF2B5EF4-FFF2-40B4-BE49-F238E27FC236}">
                    <a16:creationId xmlns:a16="http://schemas.microsoft.com/office/drawing/2014/main" id="{B92FFCF2-8EBA-4D75-8EA3-DBD7113945A5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егуляторы</a:t>
                </a:r>
              </a:p>
            </p:txBody>
          </p:sp>
          <p:sp>
            <p:nvSpPr>
              <p:cNvPr id="71" name="Circle">
                <a:extLst>
                  <a:ext uri="{FF2B5EF4-FFF2-40B4-BE49-F238E27FC236}">
                    <a16:creationId xmlns:a16="http://schemas.microsoft.com/office/drawing/2014/main" id="{37B5654B-E0A6-41BA-A1EC-4CCF93D7F88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72" name="Рисунок 71">
                <a:extLst>
                  <a:ext uri="{FF2B5EF4-FFF2-40B4-BE49-F238E27FC236}">
                    <a16:creationId xmlns:a16="http://schemas.microsoft.com/office/drawing/2014/main" id="{20D03523-FB9A-4B58-992E-853276AF0B8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86" name="Группа 85">
              <a:extLst>
                <a:ext uri="{FF2B5EF4-FFF2-40B4-BE49-F238E27FC236}">
                  <a16:creationId xmlns:a16="http://schemas.microsoft.com/office/drawing/2014/main" id="{BAE3F9DD-699E-459F-AD9D-889B77701DE2}"/>
                </a:ext>
              </a:extLst>
            </p:cNvPr>
            <p:cNvGrpSpPr/>
            <p:nvPr/>
          </p:nvGrpSpPr>
          <p:grpSpPr>
            <a:xfrm>
              <a:off x="3628511" y="2793923"/>
              <a:ext cx="1338714" cy="224491"/>
              <a:chOff x="6510195" y="1556711"/>
              <a:chExt cx="5051622" cy="847113"/>
            </a:xfrm>
          </p:grpSpPr>
          <p:sp>
            <p:nvSpPr>
              <p:cNvPr id="87" name="Rounded Rectangle">
                <a:extLst>
                  <a:ext uri="{FF2B5EF4-FFF2-40B4-BE49-F238E27FC236}">
                    <a16:creationId xmlns:a16="http://schemas.microsoft.com/office/drawing/2014/main" id="{F34F06CC-F6C7-4658-835D-37DA620F1514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88" name="Motion design">
                <a:extLst>
                  <a:ext uri="{FF2B5EF4-FFF2-40B4-BE49-F238E27FC236}">
                    <a16:creationId xmlns:a16="http://schemas.microsoft.com/office/drawing/2014/main" id="{21D38D93-E94F-4345-AC58-61DDE6EEDABD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Хаос в данных</a:t>
                </a:r>
              </a:p>
            </p:txBody>
          </p:sp>
          <p:sp>
            <p:nvSpPr>
              <p:cNvPr id="89" name="Circle">
                <a:extLst>
                  <a:ext uri="{FF2B5EF4-FFF2-40B4-BE49-F238E27FC236}">
                    <a16:creationId xmlns:a16="http://schemas.microsoft.com/office/drawing/2014/main" id="{942F74CA-9B15-4CA0-840E-703331A7C5A5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90" name="Рисунок 89">
                <a:extLst>
                  <a:ext uri="{FF2B5EF4-FFF2-40B4-BE49-F238E27FC236}">
                    <a16:creationId xmlns:a16="http://schemas.microsoft.com/office/drawing/2014/main" id="{D4B28B21-06C3-4637-9D99-694B207BAC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99" name="Группа 98">
              <a:extLst>
                <a:ext uri="{FF2B5EF4-FFF2-40B4-BE49-F238E27FC236}">
                  <a16:creationId xmlns:a16="http://schemas.microsoft.com/office/drawing/2014/main" id="{CFE59D98-C69B-4B1B-AE51-A720776C53AA}"/>
                </a:ext>
              </a:extLst>
            </p:cNvPr>
            <p:cNvGrpSpPr/>
            <p:nvPr/>
          </p:nvGrpSpPr>
          <p:grpSpPr>
            <a:xfrm>
              <a:off x="4523171" y="2355604"/>
              <a:ext cx="1338714" cy="224491"/>
              <a:chOff x="6510195" y="1556711"/>
              <a:chExt cx="5051622" cy="847113"/>
            </a:xfrm>
          </p:grpSpPr>
          <p:sp>
            <p:nvSpPr>
              <p:cNvPr id="100" name="Rounded Rectangle">
                <a:extLst>
                  <a:ext uri="{FF2B5EF4-FFF2-40B4-BE49-F238E27FC236}">
                    <a16:creationId xmlns:a16="http://schemas.microsoft.com/office/drawing/2014/main" id="{67A8093D-6E07-423C-9CC6-5C423327AB6E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01" name="Motion design">
                <a:extLst>
                  <a:ext uri="{FF2B5EF4-FFF2-40B4-BE49-F238E27FC236}">
                    <a16:creationId xmlns:a16="http://schemas.microsoft.com/office/drawing/2014/main" id="{4107933F-4125-4DF9-92E8-90260D2EC72F}"/>
                  </a:ext>
                </a:extLst>
              </p:cNvPr>
              <p:cNvSpPr txBox="1"/>
              <p:nvPr/>
            </p:nvSpPr>
            <p:spPr>
              <a:xfrm>
                <a:off x="7360917" y="1662599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Legacy-</a:t>
                </a: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системы</a:t>
                </a:r>
              </a:p>
            </p:txBody>
          </p:sp>
          <p:sp>
            <p:nvSpPr>
              <p:cNvPr id="102" name="Circle">
                <a:extLst>
                  <a:ext uri="{FF2B5EF4-FFF2-40B4-BE49-F238E27FC236}">
                    <a16:creationId xmlns:a16="http://schemas.microsoft.com/office/drawing/2014/main" id="{872A22BA-A8D0-4E4F-B5B4-04449420F32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03" name="Рисунок 102">
                <a:extLst>
                  <a:ext uri="{FF2B5EF4-FFF2-40B4-BE49-F238E27FC236}">
                    <a16:creationId xmlns:a16="http://schemas.microsoft.com/office/drawing/2014/main" id="{4915775A-27E3-4B02-8F39-AB5B621F541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109" name="Группа 108">
              <a:extLst>
                <a:ext uri="{FF2B5EF4-FFF2-40B4-BE49-F238E27FC236}">
                  <a16:creationId xmlns:a16="http://schemas.microsoft.com/office/drawing/2014/main" id="{C4496B0C-16E3-4E5A-B83A-D8435A0992BE}"/>
                </a:ext>
              </a:extLst>
            </p:cNvPr>
            <p:cNvGrpSpPr/>
            <p:nvPr/>
          </p:nvGrpSpPr>
          <p:grpSpPr>
            <a:xfrm>
              <a:off x="5341158" y="2950921"/>
              <a:ext cx="1338714" cy="224491"/>
              <a:chOff x="6510195" y="1556711"/>
              <a:chExt cx="5051622" cy="847113"/>
            </a:xfrm>
          </p:grpSpPr>
          <p:sp>
            <p:nvSpPr>
              <p:cNvPr id="110" name="Rounded Rectangle">
                <a:extLst>
                  <a:ext uri="{FF2B5EF4-FFF2-40B4-BE49-F238E27FC236}">
                    <a16:creationId xmlns:a16="http://schemas.microsoft.com/office/drawing/2014/main" id="{1B0D7CA3-091A-4A44-9895-4CBCFFD956D4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11" name="Motion design">
                <a:extLst>
                  <a:ext uri="{FF2B5EF4-FFF2-40B4-BE49-F238E27FC236}">
                    <a16:creationId xmlns:a16="http://schemas.microsoft.com/office/drawing/2014/main" id="{76CF9538-C3E3-4706-85E6-836FD00EC623}"/>
                  </a:ext>
                </a:extLst>
              </p:cNvPr>
              <p:cNvSpPr txBox="1"/>
              <p:nvPr/>
            </p:nvSpPr>
            <p:spPr>
              <a:xfrm>
                <a:off x="7333283" y="1694817"/>
                <a:ext cx="3904915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граничения железа</a:t>
                </a:r>
              </a:p>
            </p:txBody>
          </p:sp>
          <p:sp>
            <p:nvSpPr>
              <p:cNvPr id="112" name="Circle">
                <a:extLst>
                  <a:ext uri="{FF2B5EF4-FFF2-40B4-BE49-F238E27FC236}">
                    <a16:creationId xmlns:a16="http://schemas.microsoft.com/office/drawing/2014/main" id="{7E1851CA-1EA5-4B2C-B5D6-58320DDCFCC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13" name="Рисунок 112">
                <a:extLst>
                  <a:ext uri="{FF2B5EF4-FFF2-40B4-BE49-F238E27FC236}">
                    <a16:creationId xmlns:a16="http://schemas.microsoft.com/office/drawing/2014/main" id="{7A2D60DA-1C40-4B53-A54B-C28B06A48A5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121" name="Группа 120">
              <a:extLst>
                <a:ext uri="{FF2B5EF4-FFF2-40B4-BE49-F238E27FC236}">
                  <a16:creationId xmlns:a16="http://schemas.microsoft.com/office/drawing/2014/main" id="{23F3E0FC-2DF8-4A48-AADA-F7A5003D5D1E}"/>
                </a:ext>
              </a:extLst>
            </p:cNvPr>
            <p:cNvGrpSpPr/>
            <p:nvPr/>
          </p:nvGrpSpPr>
          <p:grpSpPr>
            <a:xfrm>
              <a:off x="6241459" y="2296867"/>
              <a:ext cx="1338714" cy="224491"/>
              <a:chOff x="6510195" y="1556711"/>
              <a:chExt cx="5051622" cy="847113"/>
            </a:xfrm>
          </p:grpSpPr>
          <p:sp>
            <p:nvSpPr>
              <p:cNvPr id="122" name="Rounded Rectangle">
                <a:extLst>
                  <a:ext uri="{FF2B5EF4-FFF2-40B4-BE49-F238E27FC236}">
                    <a16:creationId xmlns:a16="http://schemas.microsoft.com/office/drawing/2014/main" id="{100B1801-51D5-4AD8-B696-8CB8D47CA11F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23" name="Motion design">
                <a:extLst>
                  <a:ext uri="{FF2B5EF4-FFF2-40B4-BE49-F238E27FC236}">
                    <a16:creationId xmlns:a16="http://schemas.microsoft.com/office/drawing/2014/main" id="{F0C390E1-B65C-46BE-8A5A-FA3D1FB662E2}"/>
                  </a:ext>
                </a:extLst>
              </p:cNvPr>
              <p:cNvSpPr txBox="1"/>
              <p:nvPr/>
            </p:nvSpPr>
            <p:spPr>
              <a:xfrm>
                <a:off x="7377048" y="1680440"/>
                <a:ext cx="410132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Человеческий фактор</a:t>
                </a:r>
              </a:p>
            </p:txBody>
          </p:sp>
          <p:sp>
            <p:nvSpPr>
              <p:cNvPr id="124" name="Circle">
                <a:extLst>
                  <a:ext uri="{FF2B5EF4-FFF2-40B4-BE49-F238E27FC236}">
                    <a16:creationId xmlns:a16="http://schemas.microsoft.com/office/drawing/2014/main" id="{F56C994F-BBD7-4C32-B486-5F2FD55CCC7B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25" name="Рисунок 124">
                <a:extLst>
                  <a:ext uri="{FF2B5EF4-FFF2-40B4-BE49-F238E27FC236}">
                    <a16:creationId xmlns:a16="http://schemas.microsoft.com/office/drawing/2014/main" id="{3DC59090-0609-44AF-925B-6803AFE7C94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129" name="Группа 128">
              <a:extLst>
                <a:ext uri="{FF2B5EF4-FFF2-40B4-BE49-F238E27FC236}">
                  <a16:creationId xmlns:a16="http://schemas.microsoft.com/office/drawing/2014/main" id="{D074F0AE-D3F9-4467-9D85-D4CA479B4373}"/>
                </a:ext>
              </a:extLst>
            </p:cNvPr>
            <p:cNvGrpSpPr/>
            <p:nvPr/>
          </p:nvGrpSpPr>
          <p:grpSpPr>
            <a:xfrm>
              <a:off x="7032213" y="2793923"/>
              <a:ext cx="1542867" cy="224491"/>
              <a:chOff x="6510191" y="1556711"/>
              <a:chExt cx="5821990" cy="847113"/>
            </a:xfrm>
          </p:grpSpPr>
          <p:sp>
            <p:nvSpPr>
              <p:cNvPr id="130" name="Rounded Rectangle">
                <a:extLst>
                  <a:ext uri="{FF2B5EF4-FFF2-40B4-BE49-F238E27FC236}">
                    <a16:creationId xmlns:a16="http://schemas.microsoft.com/office/drawing/2014/main" id="{31952195-B71B-4A89-A8BE-FF566A86E15D}"/>
                  </a:ext>
                </a:extLst>
              </p:cNvPr>
              <p:cNvSpPr/>
              <p:nvPr/>
            </p:nvSpPr>
            <p:spPr>
              <a:xfrm>
                <a:off x="6510191" y="1556711"/>
                <a:ext cx="5821990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31" name="Motion design">
                <a:extLst>
                  <a:ext uri="{FF2B5EF4-FFF2-40B4-BE49-F238E27FC236}">
                    <a16:creationId xmlns:a16="http://schemas.microsoft.com/office/drawing/2014/main" id="{E4513624-2D42-4EA3-821A-C23106C87F93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4412155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Изменения внеш. среды</a:t>
                </a:r>
              </a:p>
            </p:txBody>
          </p:sp>
          <p:sp>
            <p:nvSpPr>
              <p:cNvPr id="132" name="Circle">
                <a:extLst>
                  <a:ext uri="{FF2B5EF4-FFF2-40B4-BE49-F238E27FC236}">
                    <a16:creationId xmlns:a16="http://schemas.microsoft.com/office/drawing/2014/main" id="{6D1B1DA4-38CB-4B33-85E0-9132A8AD8AF8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33" name="Рисунок 132">
                <a:extLst>
                  <a:ext uri="{FF2B5EF4-FFF2-40B4-BE49-F238E27FC236}">
                    <a16:creationId xmlns:a16="http://schemas.microsoft.com/office/drawing/2014/main" id="{25673E71-E63F-4ED9-904C-8FEE6EC3829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138" name="Группа 137">
              <a:extLst>
                <a:ext uri="{FF2B5EF4-FFF2-40B4-BE49-F238E27FC236}">
                  <a16:creationId xmlns:a16="http://schemas.microsoft.com/office/drawing/2014/main" id="{9A2F7511-A247-447C-906F-EEB06E8873BA}"/>
                </a:ext>
              </a:extLst>
            </p:cNvPr>
            <p:cNvGrpSpPr/>
            <p:nvPr/>
          </p:nvGrpSpPr>
          <p:grpSpPr>
            <a:xfrm>
              <a:off x="8127628" y="2355604"/>
              <a:ext cx="1338714" cy="224491"/>
              <a:chOff x="6510195" y="1556711"/>
              <a:chExt cx="5051622" cy="847113"/>
            </a:xfrm>
          </p:grpSpPr>
          <p:sp>
            <p:nvSpPr>
              <p:cNvPr id="139" name="Rounded Rectangle">
                <a:extLst>
                  <a:ext uri="{FF2B5EF4-FFF2-40B4-BE49-F238E27FC236}">
                    <a16:creationId xmlns:a16="http://schemas.microsoft.com/office/drawing/2014/main" id="{1C02B053-892D-48B2-AE05-9D8012D862FD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0" name="Motion design">
                <a:extLst>
                  <a:ext uri="{FF2B5EF4-FFF2-40B4-BE49-F238E27FC236}">
                    <a16:creationId xmlns:a16="http://schemas.microsoft.com/office/drawing/2014/main" id="{07F89784-1786-4B23-B859-9759BBF8E55D}"/>
                  </a:ext>
                </a:extLst>
              </p:cNvPr>
              <p:cNvSpPr txBox="1"/>
              <p:nvPr/>
            </p:nvSpPr>
            <p:spPr>
              <a:xfrm>
                <a:off x="7360917" y="1662599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Чёрные лебеди</a:t>
                </a:r>
              </a:p>
            </p:txBody>
          </p:sp>
          <p:sp>
            <p:nvSpPr>
              <p:cNvPr id="141" name="Circle">
                <a:extLst>
                  <a:ext uri="{FF2B5EF4-FFF2-40B4-BE49-F238E27FC236}">
                    <a16:creationId xmlns:a16="http://schemas.microsoft.com/office/drawing/2014/main" id="{7C3FDDCF-EAE0-4A39-B43F-10D679CF091C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142" name="Рисунок 141">
                <a:extLst>
                  <a:ext uri="{FF2B5EF4-FFF2-40B4-BE49-F238E27FC236}">
                    <a16:creationId xmlns:a16="http://schemas.microsoft.com/office/drawing/2014/main" id="{256A7AD9-6DE4-4E71-BC4F-404191A791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</p:grpSp>
      <p:sp>
        <p:nvSpPr>
          <p:cNvPr id="178" name="Заголовок">
            <a:extLst>
              <a:ext uri="{FF2B5EF4-FFF2-40B4-BE49-F238E27FC236}">
                <a16:creationId xmlns:a16="http://schemas.microsoft.com/office/drawing/2014/main" id="{E1F9403E-4FF0-4AEC-B80F-94B03F1F4740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79" name="Таймлайн">
            <a:extLst>
              <a:ext uri="{FF2B5EF4-FFF2-40B4-BE49-F238E27FC236}">
                <a16:creationId xmlns:a16="http://schemas.microsoft.com/office/drawing/2014/main" id="{FF6CB82A-6DDC-4668-88AF-4EA61AD6D5D8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84" name="Прямая соединительная линия 183">
            <a:extLst>
              <a:ext uri="{FF2B5EF4-FFF2-40B4-BE49-F238E27FC236}">
                <a16:creationId xmlns:a16="http://schemas.microsoft.com/office/drawing/2014/main" id="{E0547DF6-3EFA-4D83-AA17-688A76EBF27B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5" name="Прямая соединительная линия 184">
            <a:extLst>
              <a:ext uri="{FF2B5EF4-FFF2-40B4-BE49-F238E27FC236}">
                <a16:creationId xmlns:a16="http://schemas.microsoft.com/office/drawing/2014/main" id="{5F836492-8F21-467F-B2AE-098003EACEF7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6" name="Прямая соединительная линия 185">
            <a:extLst>
              <a:ext uri="{FF2B5EF4-FFF2-40B4-BE49-F238E27FC236}">
                <a16:creationId xmlns:a16="http://schemas.microsoft.com/office/drawing/2014/main" id="{607046A0-1D94-410F-BC77-B713ADE5B67D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7" name="Прямая соединительная линия 186">
            <a:extLst>
              <a:ext uri="{FF2B5EF4-FFF2-40B4-BE49-F238E27FC236}">
                <a16:creationId xmlns:a16="http://schemas.microsoft.com/office/drawing/2014/main" id="{88CFC14C-4B3E-4C96-9B4C-1FAEFD8E784E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5FCD71A4-085F-4F27-9918-A2A964B17D4B}"/>
              </a:ext>
            </a:extLst>
          </p:cNvPr>
          <p:cNvGrpSpPr/>
          <p:nvPr/>
        </p:nvGrpSpPr>
        <p:grpSpPr>
          <a:xfrm>
            <a:off x="9598897" y="2240125"/>
            <a:ext cx="2244096" cy="2395022"/>
            <a:chOff x="9598897" y="2240125"/>
            <a:chExt cx="2244096" cy="2395022"/>
          </a:xfrm>
        </p:grpSpPr>
        <p:sp>
          <p:nvSpPr>
            <p:cNvPr id="188" name="Shape_фон">
              <a:extLst>
                <a:ext uri="{FF2B5EF4-FFF2-40B4-BE49-F238E27FC236}">
                  <a16:creationId xmlns:a16="http://schemas.microsoft.com/office/drawing/2014/main" id="{DC12EE05-C7D6-47F1-8E9E-041656DC6CF7}"/>
                </a:ext>
              </a:extLst>
            </p:cNvPr>
            <p:cNvSpPr/>
            <p:nvPr/>
          </p:nvSpPr>
          <p:spPr>
            <a:xfrm>
              <a:off x="9598897" y="2240125"/>
              <a:ext cx="2244096" cy="23950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89" name="Описание">
              <a:extLst>
                <a:ext uri="{FF2B5EF4-FFF2-40B4-BE49-F238E27FC236}">
                  <a16:creationId xmlns:a16="http://schemas.microsoft.com/office/drawing/2014/main" id="{D1FAC309-A7A7-42A0-B56A-C18899987244}"/>
                </a:ext>
              </a:extLst>
            </p:cNvPr>
            <p:cNvSpPr txBox="1"/>
            <p:nvPr/>
          </p:nvSpPr>
          <p:spPr>
            <a:xfrm>
              <a:off x="9815863" y="2390787"/>
              <a:ext cx="18085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Стадия 3</a:t>
              </a:r>
            </a:p>
          </p:txBody>
        </p:sp>
        <p:pic>
          <p:nvPicPr>
            <p:cNvPr id="190" name="Рисунок 189">
              <a:extLst>
                <a:ext uri="{FF2B5EF4-FFF2-40B4-BE49-F238E27FC236}">
                  <a16:creationId xmlns:a16="http://schemas.microsoft.com/office/drawing/2014/main" id="{41C7B3D5-15C0-4AC4-BFBE-2170A952EF2C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 t="701" b="701"/>
            <a:stretch/>
          </p:blipFill>
          <p:spPr>
            <a:xfrm>
              <a:off x="9953967" y="2745025"/>
              <a:ext cx="1553687" cy="1890122"/>
            </a:xfrm>
            <a:custGeom>
              <a:avLst/>
              <a:gdLst>
                <a:gd name="connsiteX0" fmla="*/ 0 w 1520740"/>
                <a:gd name="connsiteY0" fmla="*/ 0 h 1828795"/>
                <a:gd name="connsiteX1" fmla="*/ 1520740 w 1520740"/>
                <a:gd name="connsiteY1" fmla="*/ 0 h 1828795"/>
                <a:gd name="connsiteX2" fmla="*/ 1520740 w 1520740"/>
                <a:gd name="connsiteY2" fmla="*/ 1828795 h 1828795"/>
                <a:gd name="connsiteX3" fmla="*/ 0 w 1520740"/>
                <a:gd name="connsiteY3" fmla="*/ 1828795 h 182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0740" h="1828795">
                  <a:moveTo>
                    <a:pt x="0" y="0"/>
                  </a:moveTo>
                  <a:lnTo>
                    <a:pt x="1520740" y="0"/>
                  </a:lnTo>
                  <a:lnTo>
                    <a:pt x="1520740" y="1828795"/>
                  </a:lnTo>
                  <a:lnTo>
                    <a:pt x="0" y="1828795"/>
                  </a:lnTo>
                  <a:close/>
                </a:path>
              </a:pathLst>
            </a:custGeom>
          </p:spPr>
        </p:pic>
      </p:grpSp>
      <p:grpSp>
        <p:nvGrpSpPr>
          <p:cNvPr id="115" name="Group 2048">
            <a:extLst>
              <a:ext uri="{FF2B5EF4-FFF2-40B4-BE49-F238E27FC236}">
                <a16:creationId xmlns:a16="http://schemas.microsoft.com/office/drawing/2014/main" id="{F7E55576-F7BB-4E99-9FDC-D61215AB5404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116" name="Freeform 23">
              <a:extLst>
                <a:ext uri="{FF2B5EF4-FFF2-40B4-BE49-F238E27FC236}">
                  <a16:creationId xmlns:a16="http://schemas.microsoft.com/office/drawing/2014/main" id="{DC85306F-A6E4-4670-B737-64CE356D50E6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17" name="Freeform 24">
              <a:extLst>
                <a:ext uri="{FF2B5EF4-FFF2-40B4-BE49-F238E27FC236}">
                  <a16:creationId xmlns:a16="http://schemas.microsoft.com/office/drawing/2014/main" id="{9D5FCC79-0C4B-40A2-BEF4-B9B88C35DB8B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170" name="Группа 169">
            <a:extLst>
              <a:ext uri="{FF2B5EF4-FFF2-40B4-BE49-F238E27FC236}">
                <a16:creationId xmlns:a16="http://schemas.microsoft.com/office/drawing/2014/main" id="{0BC39307-7229-41F0-94B1-1FA5BCB84E7A}"/>
              </a:ext>
            </a:extLst>
          </p:cNvPr>
          <p:cNvGrpSpPr/>
          <p:nvPr/>
        </p:nvGrpSpPr>
        <p:grpSpPr>
          <a:xfrm>
            <a:off x="-8121062" y="2268808"/>
            <a:ext cx="7107333" cy="2399670"/>
            <a:chOff x="2623549" y="2268808"/>
            <a:chExt cx="7107333" cy="2399670"/>
          </a:xfrm>
        </p:grpSpPr>
        <p:grpSp>
          <p:nvGrpSpPr>
            <p:cNvPr id="171" name="Группа 170">
              <a:extLst>
                <a:ext uri="{FF2B5EF4-FFF2-40B4-BE49-F238E27FC236}">
                  <a16:creationId xmlns:a16="http://schemas.microsoft.com/office/drawing/2014/main" id="{0E35880A-AD37-420F-93D5-D583C686C474}"/>
                </a:ext>
              </a:extLst>
            </p:cNvPr>
            <p:cNvGrpSpPr/>
            <p:nvPr/>
          </p:nvGrpSpPr>
          <p:grpSpPr>
            <a:xfrm>
              <a:off x="6987618" y="2405417"/>
              <a:ext cx="447617" cy="888974"/>
              <a:chOff x="6987618" y="2405417"/>
              <a:chExt cx="447617" cy="888974"/>
            </a:xfrm>
          </p:grpSpPr>
          <p:pic>
            <p:nvPicPr>
              <p:cNvPr id="204" name="Рисунок 203">
                <a:extLst>
                  <a:ext uri="{FF2B5EF4-FFF2-40B4-BE49-F238E27FC236}">
                    <a16:creationId xmlns:a16="http://schemas.microsoft.com/office/drawing/2014/main" id="{53396928-50B5-49B7-84B1-7160DBB7DE1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205" name="Рисунок 204">
                <a:extLst>
                  <a:ext uri="{FF2B5EF4-FFF2-40B4-BE49-F238E27FC236}">
                    <a16:creationId xmlns:a16="http://schemas.microsoft.com/office/drawing/2014/main" id="{5956CC59-87D7-4D71-A623-1DCAB0B4E3F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180" name="Рисунок 179">
              <a:extLst>
                <a:ext uri="{FF2B5EF4-FFF2-40B4-BE49-F238E27FC236}">
                  <a16:creationId xmlns:a16="http://schemas.microsoft.com/office/drawing/2014/main" id="{3DD2B6EF-AF85-46FC-B2AA-FA61CA0E4B9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2" r="22"/>
            <a:stretch/>
          </p:blipFill>
          <p:spPr>
            <a:xfrm rot="5400000">
              <a:off x="3454949" y="2325423"/>
              <a:ext cx="581295" cy="2244096"/>
            </a:xfrm>
            <a:prstGeom prst="rect">
              <a:avLst/>
            </a:prstGeom>
          </p:spPr>
        </p:pic>
        <p:pic>
          <p:nvPicPr>
            <p:cNvPr id="191" name="Рисунок 190">
              <a:extLst>
                <a:ext uri="{FF2B5EF4-FFF2-40B4-BE49-F238E27FC236}">
                  <a16:creationId xmlns:a16="http://schemas.microsoft.com/office/drawing/2014/main" id="{B2275C5D-A759-4B70-91F5-8C12FA59F5C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1403841"/>
              <a:ext cx="570791" cy="2300726"/>
            </a:xfrm>
            <a:prstGeom prst="rect">
              <a:avLst/>
            </a:prstGeom>
          </p:spPr>
        </p:pic>
        <p:pic>
          <p:nvPicPr>
            <p:cNvPr id="192" name="Рисунок 191">
              <a:extLst>
                <a:ext uri="{FF2B5EF4-FFF2-40B4-BE49-F238E27FC236}">
                  <a16:creationId xmlns:a16="http://schemas.microsoft.com/office/drawing/2014/main" id="{E0BFD035-9183-442D-B37F-5C0DBDBF20D2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2014641"/>
              <a:ext cx="570791" cy="2300726"/>
            </a:xfrm>
            <a:prstGeom prst="rect">
              <a:avLst/>
            </a:prstGeom>
          </p:spPr>
        </p:pic>
        <p:pic>
          <p:nvPicPr>
            <p:cNvPr id="193" name="Рисунок 192">
              <a:extLst>
                <a:ext uri="{FF2B5EF4-FFF2-40B4-BE49-F238E27FC236}">
                  <a16:creationId xmlns:a16="http://schemas.microsoft.com/office/drawing/2014/main" id="{FB01AD3D-A183-40A0-A49A-D1763411174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2609159"/>
              <a:ext cx="570791" cy="2300726"/>
            </a:xfrm>
            <a:prstGeom prst="rect">
              <a:avLst/>
            </a:prstGeom>
          </p:spPr>
        </p:pic>
        <p:pic>
          <p:nvPicPr>
            <p:cNvPr id="194" name="Рисунок 193">
              <a:extLst>
                <a:ext uri="{FF2B5EF4-FFF2-40B4-BE49-F238E27FC236}">
                  <a16:creationId xmlns:a16="http://schemas.microsoft.com/office/drawing/2014/main" id="{1A97A954-7252-4A9C-B59E-9411EF72491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 rot="5400000">
              <a:off x="8295123" y="3232720"/>
              <a:ext cx="570791" cy="2300726"/>
            </a:xfrm>
            <a:prstGeom prst="rect">
              <a:avLst/>
            </a:prstGeom>
          </p:spPr>
        </p:pic>
        <p:grpSp>
          <p:nvGrpSpPr>
            <p:cNvPr id="195" name="Группа 194">
              <a:extLst>
                <a:ext uri="{FF2B5EF4-FFF2-40B4-BE49-F238E27FC236}">
                  <a16:creationId xmlns:a16="http://schemas.microsoft.com/office/drawing/2014/main" id="{5C250D6B-C07D-48DC-8856-90C528EFF6D5}"/>
                </a:ext>
              </a:extLst>
            </p:cNvPr>
            <p:cNvGrpSpPr/>
            <p:nvPr/>
          </p:nvGrpSpPr>
          <p:grpSpPr>
            <a:xfrm>
              <a:off x="6989285" y="3587116"/>
              <a:ext cx="447617" cy="888974"/>
              <a:chOff x="6987618" y="2405417"/>
              <a:chExt cx="447617" cy="888974"/>
            </a:xfrm>
          </p:grpSpPr>
          <p:pic>
            <p:nvPicPr>
              <p:cNvPr id="202" name="Рисунок 201">
                <a:extLst>
                  <a:ext uri="{FF2B5EF4-FFF2-40B4-BE49-F238E27FC236}">
                    <a16:creationId xmlns:a16="http://schemas.microsoft.com/office/drawing/2014/main" id="{CD5C78F1-6742-4EE9-95CE-2110B578750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203" name="Рисунок 202">
                <a:extLst>
                  <a:ext uri="{FF2B5EF4-FFF2-40B4-BE49-F238E27FC236}">
                    <a16:creationId xmlns:a16="http://schemas.microsoft.com/office/drawing/2014/main" id="{5254413B-5D9A-4239-8E5E-17ABBB9AD7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196" name="Рисунок 195">
              <a:extLst>
                <a:ext uri="{FF2B5EF4-FFF2-40B4-BE49-F238E27FC236}">
                  <a16:creationId xmlns:a16="http://schemas.microsoft.com/office/drawing/2014/main" id="{825AA41A-EC50-4937-8F7B-95BD00378F0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 l="22" r="22"/>
            <a:stretch/>
          </p:blipFill>
          <p:spPr>
            <a:xfrm rot="16200000">
              <a:off x="5677114" y="2271462"/>
              <a:ext cx="581295" cy="2244096"/>
            </a:xfrm>
            <a:prstGeom prst="rect">
              <a:avLst/>
            </a:prstGeom>
          </p:spPr>
        </p:pic>
        <p:sp>
          <p:nvSpPr>
            <p:cNvPr id="197" name="Shape_фон">
              <a:extLst>
                <a:ext uri="{FF2B5EF4-FFF2-40B4-BE49-F238E27FC236}">
                  <a16:creationId xmlns:a16="http://schemas.microsoft.com/office/drawing/2014/main" id="{A1ED4A49-4AFD-4070-B5A2-9D3897CC83E4}"/>
                </a:ext>
              </a:extLst>
            </p:cNvPr>
            <p:cNvSpPr/>
            <p:nvPr/>
          </p:nvSpPr>
          <p:spPr>
            <a:xfrm>
              <a:off x="4162809" y="2994758"/>
              <a:ext cx="1356099" cy="76149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solidFill>
                    <a:schemeClr val="bg2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клиент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98" name="Shape_фон">
              <a:extLst>
                <a:ext uri="{FF2B5EF4-FFF2-40B4-BE49-F238E27FC236}">
                  <a16:creationId xmlns:a16="http://schemas.microsoft.com/office/drawing/2014/main" id="{E87D28BC-D551-4A1D-A8E5-D82656EC6782}"/>
                </a:ext>
              </a:extLst>
            </p:cNvPr>
            <p:cNvSpPr/>
            <p:nvPr/>
          </p:nvSpPr>
          <p:spPr>
            <a:xfrm>
              <a:off x="7940470" y="2292928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ПОД/ФТ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199" name="Shape_фон">
              <a:extLst>
                <a:ext uri="{FF2B5EF4-FFF2-40B4-BE49-F238E27FC236}">
                  <a16:creationId xmlns:a16="http://schemas.microsoft.com/office/drawing/2014/main" id="{205E1B5F-36B0-435B-B4DC-AF9EB43335C8}"/>
                </a:ext>
              </a:extLst>
            </p:cNvPr>
            <p:cNvSpPr/>
            <p:nvPr/>
          </p:nvSpPr>
          <p:spPr>
            <a:xfrm>
              <a:off x="7940470" y="2909444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ЦУС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200" name="Shape_фон">
              <a:extLst>
                <a:ext uri="{FF2B5EF4-FFF2-40B4-BE49-F238E27FC236}">
                  <a16:creationId xmlns:a16="http://schemas.microsoft.com/office/drawing/2014/main" id="{81E7E48E-F0CB-4070-82E9-3962359977B6}"/>
                </a:ext>
              </a:extLst>
            </p:cNvPr>
            <p:cNvSpPr/>
            <p:nvPr/>
          </p:nvSpPr>
          <p:spPr>
            <a:xfrm>
              <a:off x="7940470" y="3497590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ГРЮЛ Про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201" name="Shape_фон">
              <a:extLst>
                <a:ext uri="{FF2B5EF4-FFF2-40B4-BE49-F238E27FC236}">
                  <a16:creationId xmlns:a16="http://schemas.microsoft.com/office/drawing/2014/main" id="{D7F3950A-A01A-4CD6-9218-E3FE55486902}"/>
                </a:ext>
              </a:extLst>
            </p:cNvPr>
            <p:cNvSpPr/>
            <p:nvPr/>
          </p:nvSpPr>
          <p:spPr>
            <a:xfrm>
              <a:off x="7940470" y="4107987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адрес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DC87D17C-7842-4DF9-A3BF-E68E53E69AFE}"/>
              </a:ext>
            </a:extLst>
          </p:cNvPr>
          <p:cNvGrpSpPr/>
          <p:nvPr/>
        </p:nvGrpSpPr>
        <p:grpSpPr>
          <a:xfrm>
            <a:off x="187405" y="2240422"/>
            <a:ext cx="2671511" cy="2394725"/>
            <a:chOff x="187405" y="2240422"/>
            <a:chExt cx="2671511" cy="2394725"/>
          </a:xfrm>
        </p:grpSpPr>
        <p:sp>
          <p:nvSpPr>
            <p:cNvPr id="107" name="Shape_фон">
              <a:extLst>
                <a:ext uri="{FF2B5EF4-FFF2-40B4-BE49-F238E27FC236}">
                  <a16:creationId xmlns:a16="http://schemas.microsoft.com/office/drawing/2014/main" id="{210982E5-DD54-44DF-9A36-8B523BB05DE2}"/>
                </a:ext>
              </a:extLst>
            </p:cNvPr>
            <p:cNvSpPr/>
            <p:nvPr/>
          </p:nvSpPr>
          <p:spPr>
            <a:xfrm>
              <a:off x="353680" y="2240422"/>
              <a:ext cx="2244096" cy="239472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114" name="Описание">
              <a:extLst>
                <a:ext uri="{FF2B5EF4-FFF2-40B4-BE49-F238E27FC236}">
                  <a16:creationId xmlns:a16="http://schemas.microsoft.com/office/drawing/2014/main" id="{454074E1-482A-4EF4-A090-B9592BCE815E}"/>
                </a:ext>
              </a:extLst>
            </p:cNvPr>
            <p:cNvSpPr txBox="1"/>
            <p:nvPr/>
          </p:nvSpPr>
          <p:spPr>
            <a:xfrm>
              <a:off x="1045964" y="2358041"/>
              <a:ext cx="859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Бизнес</a:t>
              </a:r>
            </a:p>
          </p:txBody>
        </p:sp>
        <p:sp>
          <p:nvSpPr>
            <p:cNvPr id="120" name="Shape_фон">
              <a:extLst>
                <a:ext uri="{FF2B5EF4-FFF2-40B4-BE49-F238E27FC236}">
                  <a16:creationId xmlns:a16="http://schemas.microsoft.com/office/drawing/2014/main" id="{D6C82FC7-5F71-4277-8192-4DBCC4DA034D}"/>
                </a:ext>
              </a:extLst>
            </p:cNvPr>
            <p:cNvSpPr/>
            <p:nvPr/>
          </p:nvSpPr>
          <p:spPr>
            <a:xfrm>
              <a:off x="187405" y="3791593"/>
              <a:ext cx="2671511" cy="8358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27" name="Группа 126">
              <a:extLst>
                <a:ext uri="{FF2B5EF4-FFF2-40B4-BE49-F238E27FC236}">
                  <a16:creationId xmlns:a16="http://schemas.microsoft.com/office/drawing/2014/main" id="{8C4FA104-F4C8-4880-A187-BB7B69AB3FD0}"/>
                </a:ext>
              </a:extLst>
            </p:cNvPr>
            <p:cNvGrpSpPr/>
            <p:nvPr/>
          </p:nvGrpSpPr>
          <p:grpSpPr>
            <a:xfrm>
              <a:off x="1135014" y="4024689"/>
              <a:ext cx="858237" cy="468563"/>
              <a:chOff x="1299037" y="3101526"/>
              <a:chExt cx="1118376" cy="610588"/>
            </a:xfrm>
          </p:grpSpPr>
          <p:pic>
            <p:nvPicPr>
              <p:cNvPr id="157" name="Рисунок 156">
                <a:extLst>
                  <a:ext uri="{FF2B5EF4-FFF2-40B4-BE49-F238E27FC236}">
                    <a16:creationId xmlns:a16="http://schemas.microsoft.com/office/drawing/2014/main" id="{AE081BF3-0B3F-4EA7-B98A-025120E0E6D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1299037" y="3101526"/>
                <a:ext cx="1089430" cy="610588"/>
              </a:xfrm>
              <a:prstGeom prst="rect">
                <a:avLst/>
              </a:prstGeom>
            </p:spPr>
          </p:pic>
          <p:sp>
            <p:nvSpPr>
              <p:cNvPr id="167" name="Описание">
                <a:extLst>
                  <a:ext uri="{FF2B5EF4-FFF2-40B4-BE49-F238E27FC236}">
                    <a16:creationId xmlns:a16="http://schemas.microsoft.com/office/drawing/2014/main" id="{DF4FCDB7-F715-4D84-B3E2-954E184BBF7C}"/>
                  </a:ext>
                </a:extLst>
              </p:cNvPr>
              <p:cNvSpPr txBox="1"/>
              <p:nvPr/>
            </p:nvSpPr>
            <p:spPr>
              <a:xfrm>
                <a:off x="1857173" y="3107105"/>
                <a:ext cx="560240" cy="3409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SIM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34" name="Группа 133">
              <a:extLst>
                <a:ext uri="{FF2B5EF4-FFF2-40B4-BE49-F238E27FC236}">
                  <a16:creationId xmlns:a16="http://schemas.microsoft.com/office/drawing/2014/main" id="{DAFEAB1B-5667-409C-8D98-E383ED97ACEE}"/>
                </a:ext>
              </a:extLst>
            </p:cNvPr>
            <p:cNvGrpSpPr/>
            <p:nvPr/>
          </p:nvGrpSpPr>
          <p:grpSpPr>
            <a:xfrm>
              <a:off x="326918" y="4028103"/>
              <a:ext cx="784011" cy="501872"/>
              <a:chOff x="617365" y="3874512"/>
              <a:chExt cx="1081377" cy="692225"/>
            </a:xfrm>
          </p:grpSpPr>
          <p:pic>
            <p:nvPicPr>
              <p:cNvPr id="155" name="Рисунок 154">
                <a:extLst>
                  <a:ext uri="{FF2B5EF4-FFF2-40B4-BE49-F238E27FC236}">
                    <a16:creationId xmlns:a16="http://schemas.microsoft.com/office/drawing/2014/main" id="{17C4C279-D775-4FE4-B687-5BCFDBCB0A3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96DAC541-7B7A-43D3-8B79-37D633B846F1}">
                    <asvg:svgBlip xmlns:asvg="http://schemas.microsoft.com/office/drawing/2016/SVG/main" r:embed="rId17"/>
                  </a:ext>
                </a:extLst>
              </a:blip>
              <a:stretch>
                <a:fillRect/>
              </a:stretch>
            </p:blipFill>
            <p:spPr>
              <a:xfrm>
                <a:off x="637540" y="3874512"/>
                <a:ext cx="1061202" cy="649810"/>
              </a:xfrm>
              <a:prstGeom prst="rect">
                <a:avLst/>
              </a:prstGeom>
            </p:spPr>
          </p:pic>
          <p:sp>
            <p:nvSpPr>
              <p:cNvPr id="156" name="Описание">
                <a:extLst>
                  <a:ext uri="{FF2B5EF4-FFF2-40B4-BE49-F238E27FC236}">
                    <a16:creationId xmlns:a16="http://schemas.microsoft.com/office/drawing/2014/main" id="{595A7A3F-73CA-4E48-B739-E53A23040172}"/>
                  </a:ext>
                </a:extLst>
              </p:cNvPr>
              <p:cNvSpPr txBox="1"/>
              <p:nvPr/>
            </p:nvSpPr>
            <p:spPr>
              <a:xfrm>
                <a:off x="617365" y="4174535"/>
                <a:ext cx="819973" cy="3922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ARD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135" name="Группа 134">
              <a:extLst>
                <a:ext uri="{FF2B5EF4-FFF2-40B4-BE49-F238E27FC236}">
                  <a16:creationId xmlns:a16="http://schemas.microsoft.com/office/drawing/2014/main" id="{C8ECAF05-CF28-42A8-B286-6EA05CC944C8}"/>
                </a:ext>
              </a:extLst>
            </p:cNvPr>
            <p:cNvGrpSpPr/>
            <p:nvPr/>
          </p:nvGrpSpPr>
          <p:grpSpPr>
            <a:xfrm>
              <a:off x="2015442" y="3984902"/>
              <a:ext cx="606419" cy="502270"/>
              <a:chOff x="5418342" y="2035427"/>
              <a:chExt cx="909135" cy="752996"/>
            </a:xfrm>
          </p:grpSpPr>
          <p:pic>
            <p:nvPicPr>
              <p:cNvPr id="136" name="Рисунок 135">
                <a:extLst>
                  <a:ext uri="{FF2B5EF4-FFF2-40B4-BE49-F238E27FC236}">
                    <a16:creationId xmlns:a16="http://schemas.microsoft.com/office/drawing/2014/main" id="{C4B18497-6C7B-4D5D-8864-B3219D1D0C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3383" y="2035427"/>
                <a:ext cx="614094" cy="752996"/>
              </a:xfrm>
              <a:prstGeom prst="rect">
                <a:avLst/>
              </a:prstGeom>
            </p:spPr>
          </p:pic>
          <p:grpSp>
            <p:nvGrpSpPr>
              <p:cNvPr id="143" name="Группа 142">
                <a:extLst>
                  <a:ext uri="{FF2B5EF4-FFF2-40B4-BE49-F238E27FC236}">
                    <a16:creationId xmlns:a16="http://schemas.microsoft.com/office/drawing/2014/main" id="{4FE6297C-9235-49DB-8331-ADC71E5DBA7A}"/>
                  </a:ext>
                </a:extLst>
              </p:cNvPr>
              <p:cNvGrpSpPr/>
              <p:nvPr/>
            </p:nvGrpSpPr>
            <p:grpSpPr>
              <a:xfrm>
                <a:off x="5418342" y="2083431"/>
                <a:ext cx="673376" cy="690804"/>
                <a:chOff x="504301" y="2908240"/>
                <a:chExt cx="781089" cy="801306"/>
              </a:xfrm>
            </p:grpSpPr>
            <p:grpSp>
              <p:nvGrpSpPr>
                <p:cNvPr id="144" name="Рисунок 149">
                  <a:extLst>
                    <a:ext uri="{FF2B5EF4-FFF2-40B4-BE49-F238E27FC236}">
                      <a16:creationId xmlns:a16="http://schemas.microsoft.com/office/drawing/2014/main" id="{1F237EAF-8245-47A5-A35E-5C27B11A7684}"/>
                    </a:ext>
                  </a:extLst>
                </p:cNvPr>
                <p:cNvGrpSpPr/>
                <p:nvPr/>
              </p:nvGrpSpPr>
              <p:grpSpPr>
                <a:xfrm>
                  <a:off x="604343" y="2908240"/>
                  <a:ext cx="613028" cy="801306"/>
                  <a:chOff x="703210" y="3059703"/>
                  <a:chExt cx="613028" cy="801306"/>
                </a:xfrm>
              </p:grpSpPr>
              <p:sp>
                <p:nvSpPr>
                  <p:cNvPr id="148" name="Полилиния: фигура 147">
                    <a:extLst>
                      <a:ext uri="{FF2B5EF4-FFF2-40B4-BE49-F238E27FC236}">
                        <a16:creationId xmlns:a16="http://schemas.microsoft.com/office/drawing/2014/main" id="{61A30753-FDF6-4195-AD1B-3B49CF0C94D0}"/>
                      </a:ext>
                    </a:extLst>
                  </p:cNvPr>
                  <p:cNvSpPr/>
                  <p:nvPr/>
                </p:nvSpPr>
                <p:spPr>
                  <a:xfrm>
                    <a:off x="703211" y="3059703"/>
                    <a:ext cx="612930" cy="801306"/>
                  </a:xfrm>
                  <a:custGeom>
                    <a:avLst/>
                    <a:gdLst>
                      <a:gd name="connsiteX0" fmla="*/ 551569 w 612930"/>
                      <a:gd name="connsiteY0" fmla="*/ 801209 h 801306"/>
                      <a:gd name="connsiteX1" fmla="*/ 61361 w 612930"/>
                      <a:gd name="connsiteY1" fmla="*/ 801209 h 801306"/>
                      <a:gd name="connsiteX2" fmla="*/ 0 w 612930"/>
                      <a:gd name="connsiteY2" fmla="*/ 739848 h 801306"/>
                      <a:gd name="connsiteX3" fmla="*/ 0 w 612930"/>
                      <a:gd name="connsiteY3" fmla="*/ 61361 h 801306"/>
                      <a:gd name="connsiteX4" fmla="*/ 61361 w 612930"/>
                      <a:gd name="connsiteY4" fmla="*/ 0 h 801306"/>
                      <a:gd name="connsiteX5" fmla="*/ 372265 w 612930"/>
                      <a:gd name="connsiteY5" fmla="*/ 0 h 801306"/>
                      <a:gd name="connsiteX6" fmla="*/ 612931 w 612930"/>
                      <a:gd name="connsiteY6" fmla="*/ 248079 h 801306"/>
                      <a:gd name="connsiteX7" fmla="*/ 612931 w 612930"/>
                      <a:gd name="connsiteY7" fmla="*/ 739945 h 801306"/>
                      <a:gd name="connsiteX8" fmla="*/ 551569 w 612930"/>
                      <a:gd name="connsiteY8" fmla="*/ 801307 h 801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801306">
                        <a:moveTo>
                          <a:pt x="551569" y="801209"/>
                        </a:moveTo>
                        <a:lnTo>
                          <a:pt x="61361" y="801209"/>
                        </a:lnTo>
                        <a:cubicBezTo>
                          <a:pt x="27510" y="801209"/>
                          <a:pt x="0" y="773699"/>
                          <a:pt x="0" y="739848"/>
                        </a:cubicBezTo>
                        <a:lnTo>
                          <a:pt x="0" y="61361"/>
                        </a:lnTo>
                        <a:cubicBezTo>
                          <a:pt x="0" y="27510"/>
                          <a:pt x="27510" y="0"/>
                          <a:pt x="61361" y="0"/>
                        </a:cubicBezTo>
                        <a:lnTo>
                          <a:pt x="372265" y="0"/>
                        </a:lnTo>
                        <a:lnTo>
                          <a:pt x="612931" y="248079"/>
                        </a:lnTo>
                        <a:lnTo>
                          <a:pt x="612931" y="739945"/>
                        </a:lnTo>
                        <a:cubicBezTo>
                          <a:pt x="612931" y="773797"/>
                          <a:pt x="585420" y="801307"/>
                          <a:pt x="551569" y="801307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49" name="Полилиния: фигура 148">
                    <a:extLst>
                      <a:ext uri="{FF2B5EF4-FFF2-40B4-BE49-F238E27FC236}">
                        <a16:creationId xmlns:a16="http://schemas.microsoft.com/office/drawing/2014/main" id="{403A7347-1F5C-4D44-AC6D-554F3FFDDD7A}"/>
                      </a:ext>
                    </a:extLst>
                  </p:cNvPr>
                  <p:cNvSpPr/>
                  <p:nvPr/>
                </p:nvSpPr>
                <p:spPr>
                  <a:xfrm>
                    <a:off x="703210" y="3617810"/>
                    <a:ext cx="612928" cy="243104"/>
                  </a:xfrm>
                  <a:custGeom>
                    <a:avLst/>
                    <a:gdLst>
                      <a:gd name="connsiteX0" fmla="*/ 12097 w 612930"/>
                      <a:gd name="connsiteY0" fmla="*/ 0 h 243104"/>
                      <a:gd name="connsiteX1" fmla="*/ 600834 w 612930"/>
                      <a:gd name="connsiteY1" fmla="*/ 0 h 243104"/>
                      <a:gd name="connsiteX2" fmla="*/ 612931 w 612930"/>
                      <a:gd name="connsiteY2" fmla="*/ 12097 h 243104"/>
                      <a:gd name="connsiteX3" fmla="*/ 612931 w 612930"/>
                      <a:gd name="connsiteY3" fmla="*/ 179889 h 243104"/>
                      <a:gd name="connsiteX4" fmla="*/ 549716 w 612930"/>
                      <a:gd name="connsiteY4" fmla="*/ 243104 h 243104"/>
                      <a:gd name="connsiteX5" fmla="*/ 63215 w 612930"/>
                      <a:gd name="connsiteY5" fmla="*/ 243104 h 243104"/>
                      <a:gd name="connsiteX6" fmla="*/ 0 w 612930"/>
                      <a:gd name="connsiteY6" fmla="*/ 179889 h 243104"/>
                      <a:gd name="connsiteX7" fmla="*/ 0 w 612930"/>
                      <a:gd name="connsiteY7" fmla="*/ 12097 h 243104"/>
                      <a:gd name="connsiteX8" fmla="*/ 12097 w 612930"/>
                      <a:gd name="connsiteY8" fmla="*/ 0 h 24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243104">
                        <a:moveTo>
                          <a:pt x="12097" y="0"/>
                        </a:moveTo>
                        <a:lnTo>
                          <a:pt x="600834" y="0"/>
                        </a:lnTo>
                        <a:cubicBezTo>
                          <a:pt x="607468" y="0"/>
                          <a:pt x="612931" y="5463"/>
                          <a:pt x="612931" y="12097"/>
                        </a:cubicBezTo>
                        <a:lnTo>
                          <a:pt x="612931" y="179889"/>
                        </a:lnTo>
                        <a:cubicBezTo>
                          <a:pt x="612931" y="214813"/>
                          <a:pt x="584640" y="243104"/>
                          <a:pt x="549716" y="243104"/>
                        </a:cubicBezTo>
                        <a:lnTo>
                          <a:pt x="63215" y="243104"/>
                        </a:lnTo>
                        <a:cubicBezTo>
                          <a:pt x="28291" y="243104"/>
                          <a:pt x="0" y="214813"/>
                          <a:pt x="0" y="179889"/>
                        </a:cubicBezTo>
                        <a:lnTo>
                          <a:pt x="0" y="12097"/>
                        </a:lnTo>
                        <a:cubicBezTo>
                          <a:pt x="0" y="5463"/>
                          <a:pt x="5463" y="0"/>
                          <a:pt x="12097" y="0"/>
                        </a:cubicBezTo>
                        <a:close/>
                      </a:path>
                    </a:pathLst>
                  </a:custGeom>
                  <a:solidFill>
                    <a:srgbClr val="7C2323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53" name="Полилиния: фигура 152">
                    <a:extLst>
                      <a:ext uri="{FF2B5EF4-FFF2-40B4-BE49-F238E27FC236}">
                        <a16:creationId xmlns:a16="http://schemas.microsoft.com/office/drawing/2014/main" id="{0DB479DA-7037-4478-BD16-9896D2BF5F91}"/>
                      </a:ext>
                    </a:extLst>
                  </p:cNvPr>
                  <p:cNvSpPr/>
                  <p:nvPr/>
                </p:nvSpPr>
                <p:spPr>
                  <a:xfrm>
                    <a:off x="1075476" y="3059703"/>
                    <a:ext cx="240665" cy="248079"/>
                  </a:xfrm>
                  <a:custGeom>
                    <a:avLst/>
                    <a:gdLst>
                      <a:gd name="connsiteX0" fmla="*/ 0 w 240665"/>
                      <a:gd name="connsiteY0" fmla="*/ 0 h 248079"/>
                      <a:gd name="connsiteX1" fmla="*/ 0 w 240665"/>
                      <a:gd name="connsiteY1" fmla="*/ 191010 h 248079"/>
                      <a:gd name="connsiteX2" fmla="*/ 57069 w 240665"/>
                      <a:gd name="connsiteY2" fmla="*/ 248079 h 248079"/>
                      <a:gd name="connsiteX3" fmla="*/ 240665 w 240665"/>
                      <a:gd name="connsiteY3" fmla="*/ 248079 h 248079"/>
                      <a:gd name="connsiteX4" fmla="*/ 0 w 240665"/>
                      <a:gd name="connsiteY4" fmla="*/ 0 h 2480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0665" h="248079">
                        <a:moveTo>
                          <a:pt x="0" y="0"/>
                        </a:moveTo>
                        <a:lnTo>
                          <a:pt x="0" y="191010"/>
                        </a:lnTo>
                        <a:cubicBezTo>
                          <a:pt x="0" y="222520"/>
                          <a:pt x="25559" y="248079"/>
                          <a:pt x="57069" y="248079"/>
                        </a:cubicBezTo>
                        <a:lnTo>
                          <a:pt x="240665" y="248079"/>
                        </a:lnTo>
                        <a:cubicBezTo>
                          <a:pt x="240665" y="248079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154" name="Полилиния: фигура 153">
                    <a:extLst>
                      <a:ext uri="{FF2B5EF4-FFF2-40B4-BE49-F238E27FC236}">
                        <a16:creationId xmlns:a16="http://schemas.microsoft.com/office/drawing/2014/main" id="{0170268D-3511-49AF-8DE1-2AC99668A048}"/>
                      </a:ext>
                    </a:extLst>
                  </p:cNvPr>
                  <p:cNvSpPr/>
                  <p:nvPr/>
                </p:nvSpPr>
                <p:spPr>
                  <a:xfrm>
                    <a:off x="1077995" y="3267395"/>
                    <a:ext cx="238243" cy="92019"/>
                  </a:xfrm>
                  <a:custGeom>
                    <a:avLst/>
                    <a:gdLst>
                      <a:gd name="connsiteX0" fmla="*/ 17 w 238243"/>
                      <a:gd name="connsiteY0" fmla="*/ 0 h 92019"/>
                      <a:gd name="connsiteX1" fmla="*/ 50355 w 238243"/>
                      <a:gd name="connsiteY1" fmla="*/ 61556 h 92019"/>
                      <a:gd name="connsiteX2" fmla="*/ 56404 w 238243"/>
                      <a:gd name="connsiteY2" fmla="*/ 62922 h 92019"/>
                      <a:gd name="connsiteX3" fmla="*/ 238244 w 238243"/>
                      <a:gd name="connsiteY3" fmla="*/ 91701 h 92019"/>
                      <a:gd name="connsiteX4" fmla="*/ 238244 w 238243"/>
                      <a:gd name="connsiteY4" fmla="*/ 40387 h 92019"/>
                      <a:gd name="connsiteX5" fmla="*/ 54648 w 238243"/>
                      <a:gd name="connsiteY5" fmla="*/ 40387 h 92019"/>
                      <a:gd name="connsiteX6" fmla="*/ 115 w 238243"/>
                      <a:gd name="connsiteY6" fmla="*/ 98 h 92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8243" h="92019">
                        <a:moveTo>
                          <a:pt x="17" y="0"/>
                        </a:moveTo>
                        <a:cubicBezTo>
                          <a:pt x="17" y="0"/>
                          <a:pt x="-2421" y="46338"/>
                          <a:pt x="50355" y="61556"/>
                        </a:cubicBezTo>
                        <a:cubicBezTo>
                          <a:pt x="52306" y="62142"/>
                          <a:pt x="54355" y="62532"/>
                          <a:pt x="56404" y="62922"/>
                        </a:cubicBezTo>
                        <a:cubicBezTo>
                          <a:pt x="80402" y="67215"/>
                          <a:pt x="238244" y="95310"/>
                          <a:pt x="238244" y="91701"/>
                        </a:cubicBezTo>
                        <a:lnTo>
                          <a:pt x="238244" y="40387"/>
                        </a:lnTo>
                        <a:lnTo>
                          <a:pt x="54648" y="40387"/>
                        </a:lnTo>
                        <a:cubicBezTo>
                          <a:pt x="54648" y="40387"/>
                          <a:pt x="8797" y="38826"/>
                          <a:pt x="115" y="98"/>
                        </a:cubicBezTo>
                        <a:close/>
                      </a:path>
                    </a:pathLst>
                  </a:custGeom>
                  <a:solidFill>
                    <a:srgbClr val="C00000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147" name="Описание">
                  <a:extLst>
                    <a:ext uri="{FF2B5EF4-FFF2-40B4-BE49-F238E27FC236}">
                      <a16:creationId xmlns:a16="http://schemas.microsoft.com/office/drawing/2014/main" id="{DEBC2D0A-E799-4619-A838-96F312114EE2}"/>
                    </a:ext>
                  </a:extLst>
                </p:cNvPr>
                <p:cNvSpPr txBox="1"/>
                <p:nvPr/>
              </p:nvSpPr>
              <p:spPr>
                <a:xfrm>
                  <a:off x="504301" y="3181235"/>
                  <a:ext cx="781089" cy="3211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ОЛИС</a:t>
                  </a:r>
                  <a:endPara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</p:grpSp>
        <p:pic>
          <p:nvPicPr>
            <p:cNvPr id="175" name="Рисунок 174">
              <a:extLst>
                <a:ext uri="{FF2B5EF4-FFF2-40B4-BE49-F238E27FC236}">
                  <a16:creationId xmlns:a16="http://schemas.microsoft.com/office/drawing/2014/main" id="{642FBF67-393A-4FDC-8326-36F1E58D88CE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96DAC541-7B7A-43D3-8B79-37D633B846F1}">
                  <asvg:svgBlip xmlns:asvg="http://schemas.microsoft.com/office/drawing/2016/SVG/main" r:embed="rId20"/>
                </a:ext>
              </a:extLst>
            </a:blip>
            <a:stretch>
              <a:fillRect/>
            </a:stretch>
          </p:blipFill>
          <p:spPr>
            <a:xfrm rot="20939646">
              <a:off x="1009014" y="2794890"/>
              <a:ext cx="914830" cy="856746"/>
            </a:xfrm>
            <a:prstGeom prst="rect">
              <a:avLst/>
            </a:prstGeom>
          </p:spPr>
        </p:pic>
      </p:grpSp>
      <p:sp>
        <p:nvSpPr>
          <p:cNvPr id="31" name="Овал 30">
            <a:extLst>
              <a:ext uri="{FF2B5EF4-FFF2-40B4-BE49-F238E27FC236}">
                <a16:creationId xmlns:a16="http://schemas.microsoft.com/office/drawing/2014/main" id="{69455B26-5924-4589-9961-F20F9072C5EB}"/>
              </a:ext>
            </a:extLst>
          </p:cNvPr>
          <p:cNvSpPr/>
          <p:nvPr/>
        </p:nvSpPr>
        <p:spPr>
          <a:xfrm>
            <a:off x="1601461" y="5168572"/>
            <a:ext cx="8837939" cy="232036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6" name="Рисунок 25">
            <a:extLst>
              <a:ext uri="{FF2B5EF4-FFF2-40B4-BE49-F238E27FC236}">
                <a16:creationId xmlns:a16="http://schemas.microsoft.com/office/drawing/2014/main" id="{5083B818-EC8C-41C1-A397-049ADFB460F1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flipH="1">
            <a:off x="4901791" y="4600270"/>
            <a:ext cx="2671510" cy="674314"/>
          </a:xfrm>
          <a:prstGeom prst="rect">
            <a:avLst/>
          </a:prstGeom>
        </p:spPr>
      </p:pic>
      <p:pic>
        <p:nvPicPr>
          <p:cNvPr id="24" name="Рисунок 23">
            <a:extLst>
              <a:ext uri="{FF2B5EF4-FFF2-40B4-BE49-F238E27FC236}">
                <a16:creationId xmlns:a16="http://schemas.microsoft.com/office/drawing/2014/main" id="{DCAC2217-4FB0-45EC-B5F8-079C8E72B053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587500" y="4600270"/>
            <a:ext cx="2671510" cy="674314"/>
          </a:xfrm>
          <a:prstGeom prst="rect">
            <a:avLst/>
          </a:prstGeom>
        </p:spPr>
      </p:pic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02A75ADD-A489-4184-BB20-24DFBC980DFD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2923255" y="4600271"/>
            <a:ext cx="2671510" cy="674314"/>
          </a:xfrm>
          <a:prstGeom prst="rect">
            <a:avLst/>
          </a:prstGeom>
        </p:spPr>
      </p:pic>
      <p:pic>
        <p:nvPicPr>
          <p:cNvPr id="28" name="Рисунок 27">
            <a:extLst>
              <a:ext uri="{FF2B5EF4-FFF2-40B4-BE49-F238E27FC236}">
                <a16:creationId xmlns:a16="http://schemas.microsoft.com/office/drawing/2014/main" id="{CCD1CE5F-119C-4274-B921-A9DF9B8E0FD7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6020431" y="4600270"/>
            <a:ext cx="2671510" cy="674314"/>
          </a:xfrm>
          <a:prstGeom prst="rect">
            <a:avLst/>
          </a:prstGeom>
        </p:spPr>
      </p:pic>
      <p:pic>
        <p:nvPicPr>
          <p:cNvPr id="33" name="Рисунок 32">
            <a:extLst>
              <a:ext uri="{FF2B5EF4-FFF2-40B4-BE49-F238E27FC236}">
                <a16:creationId xmlns:a16="http://schemas.microsoft.com/office/drawing/2014/main" id="{114307A5-414D-4875-83E6-6E39745D7C8E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 flipH="1">
            <a:off x="7745265" y="4600272"/>
            <a:ext cx="2671510" cy="674313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262818760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02" name="Прямая соединительная линия 201">
            <a:extLst>
              <a:ext uri="{FF2B5EF4-FFF2-40B4-BE49-F238E27FC236}">
                <a16:creationId xmlns:a16="http://schemas.microsoft.com/office/drawing/2014/main" id="{91A8FA58-3601-4785-B613-50A5D7260487}"/>
              </a:ext>
            </a:extLst>
          </p:cNvPr>
          <p:cNvCxnSpPr>
            <a:cxnSpLocks/>
          </p:cNvCxnSpPr>
          <p:nvPr/>
        </p:nvCxnSpPr>
        <p:spPr>
          <a:xfrm flipH="1">
            <a:off x="0" y="4159578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3566119"/>
            <a:ext cx="12192000" cy="1785141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sp>
        <p:nvSpPr>
          <p:cNvPr id="5" name="Заголовок">
            <a:extLst>
              <a:ext uri="{FF2B5EF4-FFF2-40B4-BE49-F238E27FC236}">
                <a16:creationId xmlns:a16="http://schemas.microsoft.com/office/drawing/2014/main" id="{CCD99420-F822-4E71-B967-BCF958CE868B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6" name="Таймлайн">
            <a:extLst>
              <a:ext uri="{FF2B5EF4-FFF2-40B4-BE49-F238E27FC236}">
                <a16:creationId xmlns:a16="http://schemas.microsoft.com/office/drawing/2014/main" id="{B7A0B0D6-1771-4627-AC89-29E9178C67BF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12908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15136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D09BFED1-563F-455F-963F-5E224A619557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4BF7DCBF-4155-4892-8BD0-E734D736F982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Описание">
            <a:extLst>
              <a:ext uri="{FF2B5EF4-FFF2-40B4-BE49-F238E27FC236}">
                <a16:creationId xmlns:a16="http://schemas.microsoft.com/office/drawing/2014/main" id="{0742915A-706D-4A94-BA0E-B3D7D31ECA9A}"/>
              </a:ext>
            </a:extLst>
          </p:cNvPr>
          <p:cNvSpPr txBox="1"/>
          <p:nvPr/>
        </p:nvSpPr>
        <p:spPr>
          <a:xfrm>
            <a:off x="5543637" y="5562259"/>
            <a:ext cx="102143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srgbClr val="0D0D0D">
                    <a:lumMod val="75000"/>
                    <a:lumOff val="25000"/>
                  </a:srgbClr>
                </a:solidFill>
                <a:latin typeface="Roboto Light" panose="02000000000000000000" pitchFamily="2" charset="0"/>
                <a:ea typeface="Roboto Light" panose="02000000000000000000" pitchFamily="2" charset="0"/>
              </a:rPr>
              <a:t>Барьеры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0D0D0D">
                  <a:lumMod val="75000"/>
                  <a:lumOff val="25000"/>
                </a:srgbClr>
              </a:solidFill>
              <a:effectLst/>
              <a:uLnTx/>
              <a:uFillTx/>
              <a:latin typeface="Roboto Light" panose="02000000000000000000" pitchFamily="2" charset="0"/>
              <a:ea typeface="Roboto Light" panose="02000000000000000000" pitchFamily="2" charset="0"/>
              <a:cs typeface="+mn-cs"/>
            </a:endParaRPr>
          </a:p>
        </p:txBody>
      </p:sp>
      <p:cxnSp>
        <p:nvCxnSpPr>
          <p:cNvPr id="64" name="Прямая соединительная линия 63">
            <a:extLst>
              <a:ext uri="{FF2B5EF4-FFF2-40B4-BE49-F238E27FC236}">
                <a16:creationId xmlns:a16="http://schemas.microsoft.com/office/drawing/2014/main" id="{22EA906F-5927-492F-A107-CE9ED731A064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3A383029-7859-4FEB-BA76-A3F19E4356F5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3" name="Группа 202">
            <a:extLst>
              <a:ext uri="{FF2B5EF4-FFF2-40B4-BE49-F238E27FC236}">
                <a16:creationId xmlns:a16="http://schemas.microsoft.com/office/drawing/2014/main" id="{DD79728F-E91D-4864-92E5-FFB7A89D75FF}"/>
              </a:ext>
            </a:extLst>
          </p:cNvPr>
          <p:cNvGrpSpPr/>
          <p:nvPr/>
        </p:nvGrpSpPr>
        <p:grpSpPr>
          <a:xfrm>
            <a:off x="12806061" y="1717852"/>
            <a:ext cx="4627594" cy="4021923"/>
            <a:chOff x="3785721" y="1717852"/>
            <a:chExt cx="4627594" cy="4021923"/>
          </a:xfrm>
        </p:grpSpPr>
        <p:sp>
          <p:nvSpPr>
            <p:cNvPr id="204" name="Shape_фон">
              <a:extLst>
                <a:ext uri="{FF2B5EF4-FFF2-40B4-BE49-F238E27FC236}">
                  <a16:creationId xmlns:a16="http://schemas.microsoft.com/office/drawing/2014/main" id="{86A006F9-6F19-4E12-ABDB-945BE0BDE3B3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05" name="Группа 204">
              <a:extLst>
                <a:ext uri="{FF2B5EF4-FFF2-40B4-BE49-F238E27FC236}">
                  <a16:creationId xmlns:a16="http://schemas.microsoft.com/office/drawing/2014/main" id="{A2B5BDAF-2239-43EC-969E-ED854EE7E278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233" name="Shape_фон">
                <a:extLst>
                  <a:ext uri="{FF2B5EF4-FFF2-40B4-BE49-F238E27FC236}">
                    <a16:creationId xmlns:a16="http://schemas.microsoft.com/office/drawing/2014/main" id="{9F92EE75-B4BC-4C0A-B5D4-FF419EF29B61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34" name="Motion design">
                <a:extLst>
                  <a:ext uri="{FF2B5EF4-FFF2-40B4-BE49-F238E27FC236}">
                    <a16:creationId xmlns:a16="http://schemas.microsoft.com/office/drawing/2014/main" id="{7C3E5E79-0FF9-4FF5-ACFC-A96869351C52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06" name="Группа 205">
              <a:extLst>
                <a:ext uri="{FF2B5EF4-FFF2-40B4-BE49-F238E27FC236}">
                  <a16:creationId xmlns:a16="http://schemas.microsoft.com/office/drawing/2014/main" id="{F1A1D04F-E59B-41CE-B2AA-EC1320DAC51E}"/>
                </a:ext>
              </a:extLst>
            </p:cNvPr>
            <p:cNvGrpSpPr/>
            <p:nvPr/>
          </p:nvGrpSpPr>
          <p:grpSpPr>
            <a:xfrm>
              <a:off x="4134678" y="4254926"/>
              <a:ext cx="3873414" cy="1269125"/>
              <a:chOff x="4134678" y="4610689"/>
              <a:chExt cx="3873414" cy="1269125"/>
            </a:xfrm>
          </p:grpSpPr>
          <p:grpSp>
            <p:nvGrpSpPr>
              <p:cNvPr id="225" name="Группа 224">
                <a:extLst>
                  <a:ext uri="{FF2B5EF4-FFF2-40B4-BE49-F238E27FC236}">
                    <a16:creationId xmlns:a16="http://schemas.microsoft.com/office/drawing/2014/main" id="{5CDEACA5-DD09-4AED-A480-1EA4E226D7EF}"/>
                  </a:ext>
                </a:extLst>
              </p:cNvPr>
              <p:cNvGrpSpPr/>
              <p:nvPr/>
            </p:nvGrpSpPr>
            <p:grpSpPr>
              <a:xfrm>
                <a:off x="4149226" y="4863648"/>
                <a:ext cx="3858866" cy="1016166"/>
                <a:chOff x="874457" y="4860615"/>
                <a:chExt cx="3858866" cy="775339"/>
              </a:xfrm>
            </p:grpSpPr>
            <p:sp>
              <p:nvSpPr>
                <p:cNvPr id="231" name="Shape_фон">
                  <a:extLst>
                    <a:ext uri="{FF2B5EF4-FFF2-40B4-BE49-F238E27FC236}">
                      <a16:creationId xmlns:a16="http://schemas.microsoft.com/office/drawing/2014/main" id="{82296FD9-090D-4016-9307-095CA15878AA}"/>
                    </a:ext>
                  </a:extLst>
                </p:cNvPr>
                <p:cNvSpPr/>
                <p:nvPr/>
              </p:nvSpPr>
              <p:spPr>
                <a:xfrm>
                  <a:off x="874457" y="4860615"/>
                  <a:ext cx="3858866" cy="775339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32" name="Описание">
                  <a:extLst>
                    <a:ext uri="{FF2B5EF4-FFF2-40B4-BE49-F238E27FC236}">
                      <a16:creationId xmlns:a16="http://schemas.microsoft.com/office/drawing/2014/main" id="{CCE2A240-D030-4432-8943-25F548667B91}"/>
                    </a:ext>
                  </a:extLst>
                </p:cNvPr>
                <p:cNvSpPr txBox="1"/>
                <p:nvPr/>
              </p:nvSpPr>
              <p:spPr>
                <a:xfrm>
                  <a:off x="1022396" y="5011216"/>
                  <a:ext cx="2553754" cy="5636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VIP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мошенник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Зарплатный клиент</a:t>
                  </a:r>
                </a:p>
              </p:txBody>
            </p:sp>
          </p:grpSp>
          <p:grpSp>
            <p:nvGrpSpPr>
              <p:cNvPr id="226" name="Группа 225">
                <a:extLst>
                  <a:ext uri="{FF2B5EF4-FFF2-40B4-BE49-F238E27FC236}">
                    <a16:creationId xmlns:a16="http://schemas.microsoft.com/office/drawing/2014/main" id="{2D0B05EA-DB27-4B2A-A99B-F376D3618108}"/>
                  </a:ext>
                </a:extLst>
              </p:cNvPr>
              <p:cNvGrpSpPr/>
              <p:nvPr/>
            </p:nvGrpSpPr>
            <p:grpSpPr>
              <a:xfrm>
                <a:off x="4134678" y="4610689"/>
                <a:ext cx="1563112" cy="377702"/>
                <a:chOff x="6510195" y="1556711"/>
                <a:chExt cx="3505767" cy="847113"/>
              </a:xfrm>
            </p:grpSpPr>
            <p:sp>
              <p:nvSpPr>
                <p:cNvPr id="227" name="Rounded Rectangle">
                  <a:extLst>
                    <a:ext uri="{FF2B5EF4-FFF2-40B4-BE49-F238E27FC236}">
                      <a16:creationId xmlns:a16="http://schemas.microsoft.com/office/drawing/2014/main" id="{875F8697-2554-4D53-9ECA-D309A574AC9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505767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28" name="Motion design">
                  <a:extLst>
                    <a:ext uri="{FF2B5EF4-FFF2-40B4-BE49-F238E27FC236}">
                      <a16:creationId xmlns:a16="http://schemas.microsoft.com/office/drawing/2014/main" id="{1B633D34-D78D-45FC-B6E4-7FE7E6ABD8B0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Категории</a:t>
                  </a:r>
                </a:p>
              </p:txBody>
            </p:sp>
            <p:sp>
              <p:nvSpPr>
                <p:cNvPr id="229" name="Circle">
                  <a:extLst>
                    <a:ext uri="{FF2B5EF4-FFF2-40B4-BE49-F238E27FC236}">
                      <a16:creationId xmlns:a16="http://schemas.microsoft.com/office/drawing/2014/main" id="{302B062E-BDF2-4491-ACD6-C46D5AB6D08B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pic>
              <p:nvPicPr>
                <p:cNvPr id="230" name="Рисунок 229">
                  <a:extLst>
                    <a:ext uri="{FF2B5EF4-FFF2-40B4-BE49-F238E27FC236}">
                      <a16:creationId xmlns:a16="http://schemas.microsoft.com/office/drawing/2014/main" id="{0AA50037-861A-4E21-A659-D1D92A48C6DB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0288" y="1802015"/>
                  <a:ext cx="383462" cy="330367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07" name="Группа 206">
              <a:extLst>
                <a:ext uri="{FF2B5EF4-FFF2-40B4-BE49-F238E27FC236}">
                  <a16:creationId xmlns:a16="http://schemas.microsoft.com/office/drawing/2014/main" id="{42815D01-BB10-4C87-8B0E-8555125EF68F}"/>
                </a:ext>
              </a:extLst>
            </p:cNvPr>
            <p:cNvGrpSpPr/>
            <p:nvPr/>
          </p:nvGrpSpPr>
          <p:grpSpPr>
            <a:xfrm>
              <a:off x="4078416" y="2990128"/>
              <a:ext cx="1644476" cy="995996"/>
              <a:chOff x="4078416" y="3265857"/>
              <a:chExt cx="1644476" cy="995996"/>
            </a:xfrm>
          </p:grpSpPr>
          <p:grpSp>
            <p:nvGrpSpPr>
              <p:cNvPr id="217" name="Группа 216">
                <a:extLst>
                  <a:ext uri="{FF2B5EF4-FFF2-40B4-BE49-F238E27FC236}">
                    <a16:creationId xmlns:a16="http://schemas.microsoft.com/office/drawing/2014/main" id="{9C440A67-5BA2-4B8C-AE3A-0C5B94542803}"/>
                  </a:ext>
                </a:extLst>
              </p:cNvPr>
              <p:cNvGrpSpPr/>
              <p:nvPr/>
            </p:nvGrpSpPr>
            <p:grpSpPr>
              <a:xfrm>
                <a:off x="4103519" y="3557839"/>
                <a:ext cx="1594271" cy="704014"/>
                <a:chOff x="874456" y="3607440"/>
                <a:chExt cx="1594271" cy="704014"/>
              </a:xfrm>
            </p:grpSpPr>
            <p:sp>
              <p:nvSpPr>
                <p:cNvPr id="223" name="Shape_фон">
                  <a:extLst>
                    <a:ext uri="{FF2B5EF4-FFF2-40B4-BE49-F238E27FC236}">
                      <a16:creationId xmlns:a16="http://schemas.microsoft.com/office/drawing/2014/main" id="{9B088992-D445-4D02-9BA8-0F88A447BE64}"/>
                    </a:ext>
                  </a:extLst>
                </p:cNvPr>
                <p:cNvSpPr/>
                <p:nvPr/>
              </p:nvSpPr>
              <p:spPr>
                <a:xfrm>
                  <a:off x="874456" y="3607440"/>
                  <a:ext cx="1594271" cy="704014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24" name="Описание">
                  <a:extLst>
                    <a:ext uri="{FF2B5EF4-FFF2-40B4-BE49-F238E27FC236}">
                      <a16:creationId xmlns:a16="http://schemas.microsoft.com/office/drawing/2014/main" id="{400349DA-6E4C-4A16-A23D-95572F97A46F}"/>
                    </a:ext>
                  </a:extLst>
                </p:cNvPr>
                <p:cNvSpPr txBox="1"/>
                <p:nvPr/>
              </p:nvSpPr>
              <p:spPr>
                <a:xfrm>
                  <a:off x="939786" y="3715068"/>
                  <a:ext cx="869430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ФЛ</a:t>
                  </a:r>
                </a:p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lang="ru-RU" sz="1400" dirty="0"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</a:rPr>
                    <a:t>ЮЛ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218" name="Группа 217">
                <a:extLst>
                  <a:ext uri="{FF2B5EF4-FFF2-40B4-BE49-F238E27FC236}">
                    <a16:creationId xmlns:a16="http://schemas.microsoft.com/office/drawing/2014/main" id="{4C013E0C-FDF6-4436-8A1F-BD4136FA1CE7}"/>
                  </a:ext>
                </a:extLst>
              </p:cNvPr>
              <p:cNvGrpSpPr/>
              <p:nvPr/>
            </p:nvGrpSpPr>
            <p:grpSpPr>
              <a:xfrm>
                <a:off x="4078416" y="3265857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19" name="Rounded Rectangle">
                  <a:extLst>
                    <a:ext uri="{FF2B5EF4-FFF2-40B4-BE49-F238E27FC236}">
                      <a16:creationId xmlns:a16="http://schemas.microsoft.com/office/drawing/2014/main" id="{771E626B-C3A9-4F0C-B582-E0E1804E8754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20" name="Motion design">
                  <a:extLst>
                    <a:ext uri="{FF2B5EF4-FFF2-40B4-BE49-F238E27FC236}">
                      <a16:creationId xmlns:a16="http://schemas.microsoft.com/office/drawing/2014/main" id="{8CCFDD1B-CAB4-4784-BF16-D8C82FD313F5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Типы</a:t>
                  </a:r>
                </a:p>
              </p:txBody>
            </p:sp>
            <p:sp>
              <p:nvSpPr>
                <p:cNvPr id="221" name="Circle">
                  <a:extLst>
                    <a:ext uri="{FF2B5EF4-FFF2-40B4-BE49-F238E27FC236}">
                      <a16:creationId xmlns:a16="http://schemas.microsoft.com/office/drawing/2014/main" id="{71CD4A95-0B80-4919-B1AE-5932328493B0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pic>
              <p:nvPicPr>
                <p:cNvPr id="222" name="Рисунок 221">
                  <a:extLst>
                    <a:ext uri="{FF2B5EF4-FFF2-40B4-BE49-F238E27FC236}">
                      <a16:creationId xmlns:a16="http://schemas.microsoft.com/office/drawing/2014/main" id="{C31105E5-3D46-4056-B479-68073ED888A2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0288" y="1802015"/>
                  <a:ext cx="383462" cy="330367"/>
                </a:xfrm>
                <a:prstGeom prst="rect">
                  <a:avLst/>
                </a:prstGeom>
              </p:spPr>
            </p:pic>
          </p:grpSp>
        </p:grpSp>
        <p:grpSp>
          <p:nvGrpSpPr>
            <p:cNvPr id="208" name="Группа 207">
              <a:extLst>
                <a:ext uri="{FF2B5EF4-FFF2-40B4-BE49-F238E27FC236}">
                  <a16:creationId xmlns:a16="http://schemas.microsoft.com/office/drawing/2014/main" id="{C8152090-D986-4D01-88E4-A4B76D847E38}"/>
                </a:ext>
              </a:extLst>
            </p:cNvPr>
            <p:cNvGrpSpPr/>
            <p:nvPr/>
          </p:nvGrpSpPr>
          <p:grpSpPr>
            <a:xfrm>
              <a:off x="6388516" y="2990128"/>
              <a:ext cx="1644476" cy="1369861"/>
              <a:chOff x="6388516" y="3254948"/>
              <a:chExt cx="1644476" cy="1369861"/>
            </a:xfrm>
          </p:grpSpPr>
          <p:grpSp>
            <p:nvGrpSpPr>
              <p:cNvPr id="209" name="Группа 208">
                <a:extLst>
                  <a:ext uri="{FF2B5EF4-FFF2-40B4-BE49-F238E27FC236}">
                    <a16:creationId xmlns:a16="http://schemas.microsoft.com/office/drawing/2014/main" id="{7748C738-CA6F-4D74-88F7-5279F516752A}"/>
                  </a:ext>
                </a:extLst>
              </p:cNvPr>
              <p:cNvGrpSpPr/>
              <p:nvPr/>
            </p:nvGrpSpPr>
            <p:grpSpPr>
              <a:xfrm>
                <a:off x="6388516" y="3402454"/>
                <a:ext cx="1644476" cy="1222355"/>
                <a:chOff x="2319503" y="3607439"/>
                <a:chExt cx="1644476" cy="1222355"/>
              </a:xfrm>
            </p:grpSpPr>
            <p:sp>
              <p:nvSpPr>
                <p:cNvPr id="215" name="Shape_фон">
                  <a:extLst>
                    <a:ext uri="{FF2B5EF4-FFF2-40B4-BE49-F238E27FC236}">
                      <a16:creationId xmlns:a16="http://schemas.microsoft.com/office/drawing/2014/main" id="{E10C59DA-A5C6-465E-886C-361CB0112AD3}"/>
                    </a:ext>
                  </a:extLst>
                </p:cNvPr>
                <p:cNvSpPr/>
                <p:nvPr/>
              </p:nvSpPr>
              <p:spPr>
                <a:xfrm>
                  <a:off x="2319503" y="3607439"/>
                  <a:ext cx="1644476" cy="1222355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16" name="Описание">
                  <a:extLst>
                    <a:ext uri="{FF2B5EF4-FFF2-40B4-BE49-F238E27FC236}">
                      <a16:creationId xmlns:a16="http://schemas.microsoft.com/office/drawing/2014/main" id="{3B4417DC-FCE0-4E1B-ABCA-4D9AC2A3CFE2}"/>
                    </a:ext>
                  </a:extLst>
                </p:cNvPr>
                <p:cNvSpPr txBox="1"/>
                <p:nvPr/>
              </p:nvSpPr>
              <p:spPr>
                <a:xfrm>
                  <a:off x="2381135" y="3832820"/>
                  <a:ext cx="1557944" cy="9541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Кли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роспек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Аг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Сотрудник</a:t>
                  </a:r>
                </a:p>
              </p:txBody>
            </p:sp>
          </p:grpSp>
          <p:grpSp>
            <p:nvGrpSpPr>
              <p:cNvPr id="210" name="Группа 209">
                <a:extLst>
                  <a:ext uri="{FF2B5EF4-FFF2-40B4-BE49-F238E27FC236}">
                    <a16:creationId xmlns:a16="http://schemas.microsoft.com/office/drawing/2014/main" id="{12CFB925-EB17-4610-9EAF-DFDAAE0E8900}"/>
                  </a:ext>
                </a:extLst>
              </p:cNvPr>
              <p:cNvGrpSpPr/>
              <p:nvPr/>
            </p:nvGrpSpPr>
            <p:grpSpPr>
              <a:xfrm>
                <a:off x="6388516" y="3254948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11" name="Rounded Rectangle">
                  <a:extLst>
                    <a:ext uri="{FF2B5EF4-FFF2-40B4-BE49-F238E27FC236}">
                      <a16:creationId xmlns:a16="http://schemas.microsoft.com/office/drawing/2014/main" id="{226EDDC6-5E2B-4336-816D-73BD6C1B2BC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12" name="Motion design">
                  <a:extLst>
                    <a:ext uri="{FF2B5EF4-FFF2-40B4-BE49-F238E27FC236}">
                      <a16:creationId xmlns:a16="http://schemas.microsoft.com/office/drawing/2014/main" id="{021655DD-8813-41BA-B2CB-EA78290BACA7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Роли</a:t>
                  </a:r>
                </a:p>
              </p:txBody>
            </p:sp>
            <p:sp>
              <p:nvSpPr>
                <p:cNvPr id="213" name="Circle">
                  <a:extLst>
                    <a:ext uri="{FF2B5EF4-FFF2-40B4-BE49-F238E27FC236}">
                      <a16:creationId xmlns:a16="http://schemas.microsoft.com/office/drawing/2014/main" id="{6C660C85-182F-4A23-96FA-F637ADFF43DB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pic>
              <p:nvPicPr>
                <p:cNvPr id="214" name="Рисунок 213">
                  <a:extLst>
                    <a:ext uri="{FF2B5EF4-FFF2-40B4-BE49-F238E27FC236}">
                      <a16:creationId xmlns:a16="http://schemas.microsoft.com/office/drawing/2014/main" id="{8EA08677-9EAF-40A8-9E12-CC9A05CE4EA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6760288" y="1802015"/>
                  <a:ext cx="383462" cy="330367"/>
                </a:xfrm>
                <a:prstGeom prst="rect">
                  <a:avLst/>
                </a:prstGeom>
              </p:spPr>
            </p:pic>
          </p:grpSp>
        </p:grpSp>
      </p:grpSp>
      <p:grpSp>
        <p:nvGrpSpPr>
          <p:cNvPr id="150" name="Group 2048">
            <a:extLst>
              <a:ext uri="{FF2B5EF4-FFF2-40B4-BE49-F238E27FC236}">
                <a16:creationId xmlns:a16="http://schemas.microsoft.com/office/drawing/2014/main" id="{479AF285-A325-4500-A6CF-0E83F147C5C3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151" name="Freeform 23">
              <a:extLst>
                <a:ext uri="{FF2B5EF4-FFF2-40B4-BE49-F238E27FC236}">
                  <a16:creationId xmlns:a16="http://schemas.microsoft.com/office/drawing/2014/main" id="{06CD9FB9-CA8A-41EF-83D4-4B6BF6898608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52" name="Freeform 24">
              <a:extLst>
                <a:ext uri="{FF2B5EF4-FFF2-40B4-BE49-F238E27FC236}">
                  <a16:creationId xmlns:a16="http://schemas.microsoft.com/office/drawing/2014/main" id="{A4F02175-8D6D-4107-B18E-044C19785F38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  <p:grpSp>
        <p:nvGrpSpPr>
          <p:cNvPr id="283" name="Группа 282">
            <a:extLst>
              <a:ext uri="{FF2B5EF4-FFF2-40B4-BE49-F238E27FC236}">
                <a16:creationId xmlns:a16="http://schemas.microsoft.com/office/drawing/2014/main" id="{F0A30B8C-DF53-44DD-BA2D-6DA4C5107BC0}"/>
              </a:ext>
            </a:extLst>
          </p:cNvPr>
          <p:cNvGrpSpPr/>
          <p:nvPr/>
        </p:nvGrpSpPr>
        <p:grpSpPr>
          <a:xfrm>
            <a:off x="9598897" y="2240125"/>
            <a:ext cx="2244096" cy="2395022"/>
            <a:chOff x="9598897" y="2240125"/>
            <a:chExt cx="2244096" cy="2395022"/>
          </a:xfrm>
        </p:grpSpPr>
        <p:sp>
          <p:nvSpPr>
            <p:cNvPr id="284" name="Shape_фон">
              <a:extLst>
                <a:ext uri="{FF2B5EF4-FFF2-40B4-BE49-F238E27FC236}">
                  <a16:creationId xmlns:a16="http://schemas.microsoft.com/office/drawing/2014/main" id="{61B9B07C-E6C7-40C2-BA65-4CCD3AA84927}"/>
                </a:ext>
              </a:extLst>
            </p:cNvPr>
            <p:cNvSpPr/>
            <p:nvPr/>
          </p:nvSpPr>
          <p:spPr>
            <a:xfrm>
              <a:off x="9598897" y="2240125"/>
              <a:ext cx="2244096" cy="239502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285" name="Описание">
              <a:extLst>
                <a:ext uri="{FF2B5EF4-FFF2-40B4-BE49-F238E27FC236}">
                  <a16:creationId xmlns:a16="http://schemas.microsoft.com/office/drawing/2014/main" id="{1289FD19-86BF-4C90-BA72-7372218C1F90}"/>
                </a:ext>
              </a:extLst>
            </p:cNvPr>
            <p:cNvSpPr txBox="1"/>
            <p:nvPr/>
          </p:nvSpPr>
          <p:spPr>
            <a:xfrm>
              <a:off x="9815863" y="2390787"/>
              <a:ext cx="1808508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Клиент </a:t>
              </a: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Стадия 3</a:t>
              </a:r>
            </a:p>
          </p:txBody>
        </p:sp>
        <p:pic>
          <p:nvPicPr>
            <p:cNvPr id="286" name="Рисунок 285">
              <a:extLst>
                <a:ext uri="{FF2B5EF4-FFF2-40B4-BE49-F238E27FC236}">
                  <a16:creationId xmlns:a16="http://schemas.microsoft.com/office/drawing/2014/main" id="{647BDDE2-33EE-45B9-9991-A5330FA1C21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 t="701" b="701"/>
            <a:stretch/>
          </p:blipFill>
          <p:spPr>
            <a:xfrm>
              <a:off x="9953967" y="2745025"/>
              <a:ext cx="1553687" cy="1890122"/>
            </a:xfrm>
            <a:custGeom>
              <a:avLst/>
              <a:gdLst>
                <a:gd name="connsiteX0" fmla="*/ 0 w 1520740"/>
                <a:gd name="connsiteY0" fmla="*/ 0 h 1828795"/>
                <a:gd name="connsiteX1" fmla="*/ 1520740 w 1520740"/>
                <a:gd name="connsiteY1" fmla="*/ 0 h 1828795"/>
                <a:gd name="connsiteX2" fmla="*/ 1520740 w 1520740"/>
                <a:gd name="connsiteY2" fmla="*/ 1828795 h 1828795"/>
                <a:gd name="connsiteX3" fmla="*/ 0 w 1520740"/>
                <a:gd name="connsiteY3" fmla="*/ 1828795 h 1828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20740" h="1828795">
                  <a:moveTo>
                    <a:pt x="0" y="0"/>
                  </a:moveTo>
                  <a:lnTo>
                    <a:pt x="1520740" y="0"/>
                  </a:lnTo>
                  <a:lnTo>
                    <a:pt x="1520740" y="1828795"/>
                  </a:lnTo>
                  <a:lnTo>
                    <a:pt x="0" y="1828795"/>
                  </a:lnTo>
                  <a:close/>
                </a:path>
              </a:pathLst>
            </a:custGeom>
          </p:spPr>
        </p:pic>
      </p:grp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4D6BA44-4C64-41E5-A80D-BFCE05814AA0}"/>
              </a:ext>
            </a:extLst>
          </p:cNvPr>
          <p:cNvGrpSpPr/>
          <p:nvPr/>
        </p:nvGrpSpPr>
        <p:grpSpPr>
          <a:xfrm>
            <a:off x="2596655" y="2268808"/>
            <a:ext cx="7107333" cy="2399670"/>
            <a:chOff x="2623549" y="2268808"/>
            <a:chExt cx="7107333" cy="2399670"/>
          </a:xfrm>
        </p:grpSpPr>
        <p:grpSp>
          <p:nvGrpSpPr>
            <p:cNvPr id="4" name="Группа 3">
              <a:extLst>
                <a:ext uri="{FF2B5EF4-FFF2-40B4-BE49-F238E27FC236}">
                  <a16:creationId xmlns:a16="http://schemas.microsoft.com/office/drawing/2014/main" id="{864C5529-5EAC-4E6B-BCCC-42AB795DC2A0}"/>
                </a:ext>
              </a:extLst>
            </p:cNvPr>
            <p:cNvGrpSpPr/>
            <p:nvPr/>
          </p:nvGrpSpPr>
          <p:grpSpPr>
            <a:xfrm>
              <a:off x="6987618" y="2405417"/>
              <a:ext cx="447617" cy="888974"/>
              <a:chOff x="6987618" y="2405417"/>
              <a:chExt cx="447617" cy="888974"/>
            </a:xfrm>
          </p:grpSpPr>
          <p:pic>
            <p:nvPicPr>
              <p:cNvPr id="66" name="Рисунок 65">
                <a:extLst>
                  <a:ext uri="{FF2B5EF4-FFF2-40B4-BE49-F238E27FC236}">
                    <a16:creationId xmlns:a16="http://schemas.microsoft.com/office/drawing/2014/main" id="{C696A1B7-B006-4427-BE72-8FEC4CFAD5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293" name="Рисунок 292">
                <a:extLst>
                  <a:ext uri="{FF2B5EF4-FFF2-40B4-BE49-F238E27FC236}">
                    <a16:creationId xmlns:a16="http://schemas.microsoft.com/office/drawing/2014/main" id="{414A3865-9579-431A-AF76-6C98D69E81F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67" name="Рисунок 66">
              <a:extLst>
                <a:ext uri="{FF2B5EF4-FFF2-40B4-BE49-F238E27FC236}">
                  <a16:creationId xmlns:a16="http://schemas.microsoft.com/office/drawing/2014/main" id="{E5990564-044D-44A1-BC63-921DF0DECCF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22" r="22"/>
            <a:stretch/>
          </p:blipFill>
          <p:spPr>
            <a:xfrm rot="5400000">
              <a:off x="3454949" y="2325423"/>
              <a:ext cx="581295" cy="2244096"/>
            </a:xfrm>
            <a:prstGeom prst="rect">
              <a:avLst/>
            </a:prstGeom>
          </p:spPr>
        </p:pic>
        <p:pic>
          <p:nvPicPr>
            <p:cNvPr id="287" name="Рисунок 286">
              <a:extLst>
                <a:ext uri="{FF2B5EF4-FFF2-40B4-BE49-F238E27FC236}">
                  <a16:creationId xmlns:a16="http://schemas.microsoft.com/office/drawing/2014/main" id="{D545F3BC-6260-4B05-B7BA-9E1C9905D926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8295123" y="1403841"/>
              <a:ext cx="570791" cy="2300726"/>
            </a:xfrm>
            <a:prstGeom prst="rect">
              <a:avLst/>
            </a:prstGeom>
          </p:spPr>
        </p:pic>
        <p:pic>
          <p:nvPicPr>
            <p:cNvPr id="288" name="Рисунок 287">
              <a:extLst>
                <a:ext uri="{FF2B5EF4-FFF2-40B4-BE49-F238E27FC236}">
                  <a16:creationId xmlns:a16="http://schemas.microsoft.com/office/drawing/2014/main" id="{F3CA92D4-DFC2-4EDA-A15A-7640A095A6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8295123" y="2014641"/>
              <a:ext cx="570791" cy="2300726"/>
            </a:xfrm>
            <a:prstGeom prst="rect">
              <a:avLst/>
            </a:prstGeom>
          </p:spPr>
        </p:pic>
        <p:pic>
          <p:nvPicPr>
            <p:cNvPr id="289" name="Рисунок 288">
              <a:extLst>
                <a:ext uri="{FF2B5EF4-FFF2-40B4-BE49-F238E27FC236}">
                  <a16:creationId xmlns:a16="http://schemas.microsoft.com/office/drawing/2014/main" id="{CB539F78-8C64-4B59-A9E1-498B78F2080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8295123" y="2609159"/>
              <a:ext cx="570791" cy="2300726"/>
            </a:xfrm>
            <a:prstGeom prst="rect">
              <a:avLst/>
            </a:prstGeom>
          </p:spPr>
        </p:pic>
        <p:pic>
          <p:nvPicPr>
            <p:cNvPr id="290" name="Рисунок 289">
              <a:extLst>
                <a:ext uri="{FF2B5EF4-FFF2-40B4-BE49-F238E27FC236}">
                  <a16:creationId xmlns:a16="http://schemas.microsoft.com/office/drawing/2014/main" id="{57D91768-D196-421A-A70D-A0955C861C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 rot="5400000">
              <a:off x="8295123" y="3232720"/>
              <a:ext cx="570791" cy="2300726"/>
            </a:xfrm>
            <a:prstGeom prst="rect">
              <a:avLst/>
            </a:prstGeom>
          </p:spPr>
        </p:pic>
        <p:grpSp>
          <p:nvGrpSpPr>
            <p:cNvPr id="294" name="Группа 293">
              <a:extLst>
                <a:ext uri="{FF2B5EF4-FFF2-40B4-BE49-F238E27FC236}">
                  <a16:creationId xmlns:a16="http://schemas.microsoft.com/office/drawing/2014/main" id="{683D0EDC-FE69-418B-8152-51ED82E0B4DF}"/>
                </a:ext>
              </a:extLst>
            </p:cNvPr>
            <p:cNvGrpSpPr/>
            <p:nvPr/>
          </p:nvGrpSpPr>
          <p:grpSpPr>
            <a:xfrm>
              <a:off x="6989285" y="3587116"/>
              <a:ext cx="447617" cy="888974"/>
              <a:chOff x="6987618" y="2405417"/>
              <a:chExt cx="447617" cy="888974"/>
            </a:xfrm>
          </p:grpSpPr>
          <p:pic>
            <p:nvPicPr>
              <p:cNvPr id="295" name="Рисунок 294">
                <a:extLst>
                  <a:ext uri="{FF2B5EF4-FFF2-40B4-BE49-F238E27FC236}">
                    <a16:creationId xmlns:a16="http://schemas.microsoft.com/office/drawing/2014/main" id="{01347179-BC03-405B-807B-8405AA5869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505" b="505"/>
              <a:stretch/>
            </p:blipFill>
            <p:spPr>
              <a:xfrm rot="5400000">
                <a:off x="6974411" y="2418624"/>
                <a:ext cx="470429" cy="444015"/>
              </a:xfrm>
              <a:prstGeom prst="rect">
                <a:avLst/>
              </a:prstGeom>
            </p:spPr>
          </p:pic>
          <p:pic>
            <p:nvPicPr>
              <p:cNvPr id="296" name="Рисунок 295">
                <a:extLst>
                  <a:ext uri="{FF2B5EF4-FFF2-40B4-BE49-F238E27FC236}">
                    <a16:creationId xmlns:a16="http://schemas.microsoft.com/office/drawing/2014/main" id="{519488F9-A1E5-40D1-9BB7-8A8B8EBED51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rcRect t="505" b="505"/>
              <a:stretch/>
            </p:blipFill>
            <p:spPr>
              <a:xfrm>
                <a:off x="6992037" y="2876078"/>
                <a:ext cx="443198" cy="418313"/>
              </a:xfrm>
              <a:prstGeom prst="rect">
                <a:avLst/>
              </a:prstGeom>
            </p:spPr>
          </p:pic>
        </p:grpSp>
        <p:pic>
          <p:nvPicPr>
            <p:cNvPr id="297" name="Рисунок 296">
              <a:extLst>
                <a:ext uri="{FF2B5EF4-FFF2-40B4-BE49-F238E27FC236}">
                  <a16:creationId xmlns:a16="http://schemas.microsoft.com/office/drawing/2014/main" id="{47230D89-A927-4DBA-BD4E-D8432C939C0B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22" r="22"/>
            <a:stretch/>
          </p:blipFill>
          <p:spPr>
            <a:xfrm rot="16200000">
              <a:off x="5677114" y="2271462"/>
              <a:ext cx="581295" cy="2244096"/>
            </a:xfrm>
            <a:prstGeom prst="rect">
              <a:avLst/>
            </a:prstGeom>
          </p:spPr>
        </p:pic>
        <p:sp>
          <p:nvSpPr>
            <p:cNvPr id="298" name="Shape_фон">
              <a:extLst>
                <a:ext uri="{FF2B5EF4-FFF2-40B4-BE49-F238E27FC236}">
                  <a16:creationId xmlns:a16="http://schemas.microsoft.com/office/drawing/2014/main" id="{BE1E18D8-8827-4CD0-8EC1-8F984081DD01}"/>
                </a:ext>
              </a:extLst>
            </p:cNvPr>
            <p:cNvSpPr/>
            <p:nvPr/>
          </p:nvSpPr>
          <p:spPr>
            <a:xfrm>
              <a:off x="4162809" y="2994758"/>
              <a:ext cx="1356099" cy="761492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solidFill>
                    <a:schemeClr val="bg2"/>
                  </a:solidFill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клиент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299" name="Shape_фон">
              <a:extLst>
                <a:ext uri="{FF2B5EF4-FFF2-40B4-BE49-F238E27FC236}">
                  <a16:creationId xmlns:a16="http://schemas.microsoft.com/office/drawing/2014/main" id="{D1FB207C-B82A-4B9C-99DE-9823E5A16EAC}"/>
                </a:ext>
              </a:extLst>
            </p:cNvPr>
            <p:cNvSpPr/>
            <p:nvPr/>
          </p:nvSpPr>
          <p:spPr>
            <a:xfrm>
              <a:off x="7940470" y="2292928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ПОД/ФТ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300" name="Shape_фон">
              <a:extLst>
                <a:ext uri="{FF2B5EF4-FFF2-40B4-BE49-F238E27FC236}">
                  <a16:creationId xmlns:a16="http://schemas.microsoft.com/office/drawing/2014/main" id="{1A5F6806-86C6-495D-B79C-9118B5421EBA}"/>
                </a:ext>
              </a:extLst>
            </p:cNvPr>
            <p:cNvSpPr/>
            <p:nvPr/>
          </p:nvSpPr>
          <p:spPr>
            <a:xfrm>
              <a:off x="7940470" y="2909444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ЦУС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301" name="Shape_фон">
              <a:extLst>
                <a:ext uri="{FF2B5EF4-FFF2-40B4-BE49-F238E27FC236}">
                  <a16:creationId xmlns:a16="http://schemas.microsoft.com/office/drawing/2014/main" id="{668193F8-B905-4281-9502-C35E2579C43D}"/>
                </a:ext>
              </a:extLst>
            </p:cNvPr>
            <p:cNvSpPr/>
            <p:nvPr/>
          </p:nvSpPr>
          <p:spPr>
            <a:xfrm>
              <a:off x="7940470" y="3497590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ГРЮЛ Про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  <p:sp>
          <p:nvSpPr>
            <p:cNvPr id="302" name="Shape_фон">
              <a:extLst>
                <a:ext uri="{FF2B5EF4-FFF2-40B4-BE49-F238E27FC236}">
                  <a16:creationId xmlns:a16="http://schemas.microsoft.com/office/drawing/2014/main" id="{77771FF9-4F29-496F-98FE-F10E9475C946}"/>
                </a:ext>
              </a:extLst>
            </p:cNvPr>
            <p:cNvSpPr/>
            <p:nvPr/>
          </p:nvSpPr>
          <p:spPr>
            <a:xfrm>
              <a:off x="7940470" y="4107987"/>
              <a:ext cx="1356099" cy="39928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dirty="0">
                  <a:latin typeface="Roboto Light" panose="02000000000000000000" pitchFamily="2" charset="0"/>
                  <a:ea typeface="Roboto Light" panose="02000000000000000000" pitchFamily="2" charset="0"/>
                  <a:cs typeface="Poppins Bold"/>
                  <a:sym typeface="Poppins Bold"/>
                </a:rPr>
                <a:t>«Единый адрес»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Roboto Light" panose="02000000000000000000" pitchFamily="2" charset="0"/>
                <a:ea typeface="Roboto Light" panose="02000000000000000000" pitchFamily="2" charset="0"/>
                <a:cs typeface="Poppins Bold"/>
                <a:sym typeface="Poppins Bold"/>
              </a:endParaRPr>
            </a:p>
          </p:txBody>
        </p:sp>
      </p:grpSp>
      <p:grpSp>
        <p:nvGrpSpPr>
          <p:cNvPr id="263" name="Группа 262">
            <a:extLst>
              <a:ext uri="{FF2B5EF4-FFF2-40B4-BE49-F238E27FC236}">
                <a16:creationId xmlns:a16="http://schemas.microsoft.com/office/drawing/2014/main" id="{262DAB3C-BDC8-4831-813C-7AE2E92B8392}"/>
              </a:ext>
            </a:extLst>
          </p:cNvPr>
          <p:cNvGrpSpPr/>
          <p:nvPr/>
        </p:nvGrpSpPr>
        <p:grpSpPr>
          <a:xfrm>
            <a:off x="187405" y="2240422"/>
            <a:ext cx="2671511" cy="2394725"/>
            <a:chOff x="187405" y="2240422"/>
            <a:chExt cx="2671511" cy="2394725"/>
          </a:xfrm>
        </p:grpSpPr>
        <p:sp>
          <p:nvSpPr>
            <p:cNvPr id="264" name="Shape_фон">
              <a:extLst>
                <a:ext uri="{FF2B5EF4-FFF2-40B4-BE49-F238E27FC236}">
                  <a16:creationId xmlns:a16="http://schemas.microsoft.com/office/drawing/2014/main" id="{7073856A-563E-4B1B-93A5-AB3731B7B698}"/>
                </a:ext>
              </a:extLst>
            </p:cNvPr>
            <p:cNvSpPr/>
            <p:nvPr/>
          </p:nvSpPr>
          <p:spPr>
            <a:xfrm>
              <a:off x="353680" y="2240422"/>
              <a:ext cx="2244096" cy="239472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sp>
          <p:nvSpPr>
            <p:cNvPr id="265" name="Описание">
              <a:extLst>
                <a:ext uri="{FF2B5EF4-FFF2-40B4-BE49-F238E27FC236}">
                  <a16:creationId xmlns:a16="http://schemas.microsoft.com/office/drawing/2014/main" id="{E96057EE-B4B3-479E-8D44-40C1658F4D46}"/>
                </a:ext>
              </a:extLst>
            </p:cNvPr>
            <p:cNvSpPr txBox="1"/>
            <p:nvPr/>
          </p:nvSpPr>
          <p:spPr>
            <a:xfrm>
              <a:off x="1045964" y="2358041"/>
              <a:ext cx="859531" cy="33855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D0D0D">
                      <a:lumMod val="75000"/>
                      <a:lumOff val="25000"/>
                    </a:srgbClr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rPr>
                <a:t>Бизнес</a:t>
              </a:r>
            </a:p>
          </p:txBody>
        </p:sp>
        <p:sp>
          <p:nvSpPr>
            <p:cNvPr id="266" name="Shape_фон">
              <a:extLst>
                <a:ext uri="{FF2B5EF4-FFF2-40B4-BE49-F238E27FC236}">
                  <a16:creationId xmlns:a16="http://schemas.microsoft.com/office/drawing/2014/main" id="{050EDCAB-53F2-45A9-9487-B3A15F35967F}"/>
                </a:ext>
              </a:extLst>
            </p:cNvPr>
            <p:cNvSpPr/>
            <p:nvPr/>
          </p:nvSpPr>
          <p:spPr>
            <a:xfrm>
              <a:off x="187405" y="3791593"/>
              <a:ext cx="2671511" cy="83584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67" name="Группа 266">
              <a:extLst>
                <a:ext uri="{FF2B5EF4-FFF2-40B4-BE49-F238E27FC236}">
                  <a16:creationId xmlns:a16="http://schemas.microsoft.com/office/drawing/2014/main" id="{4E28DF7F-5998-4699-8057-9945F8F0E4A1}"/>
                </a:ext>
              </a:extLst>
            </p:cNvPr>
            <p:cNvGrpSpPr/>
            <p:nvPr/>
          </p:nvGrpSpPr>
          <p:grpSpPr>
            <a:xfrm>
              <a:off x="1135014" y="4024689"/>
              <a:ext cx="858237" cy="468563"/>
              <a:chOff x="1299037" y="3101526"/>
              <a:chExt cx="1118376" cy="610588"/>
            </a:xfrm>
          </p:grpSpPr>
          <p:pic>
            <p:nvPicPr>
              <p:cNvPr id="281" name="Рисунок 280">
                <a:extLst>
                  <a:ext uri="{FF2B5EF4-FFF2-40B4-BE49-F238E27FC236}">
                    <a16:creationId xmlns:a16="http://schemas.microsoft.com/office/drawing/2014/main" id="{69641680-40F3-4D35-ADB4-CF9BE179F5B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>
                <a:extLst>
                  <a:ext uri="{96DAC541-7B7A-43D3-8B79-37D633B846F1}">
                    <asvg:svgBlip xmlns:asvg="http://schemas.microsoft.com/office/drawing/2016/SVG/main" r:embed="rId13"/>
                  </a:ext>
                </a:extLst>
              </a:blip>
              <a:stretch>
                <a:fillRect/>
              </a:stretch>
            </p:blipFill>
            <p:spPr>
              <a:xfrm>
                <a:off x="1299037" y="3101526"/>
                <a:ext cx="1089430" cy="610588"/>
              </a:xfrm>
              <a:prstGeom prst="rect">
                <a:avLst/>
              </a:prstGeom>
            </p:spPr>
          </p:pic>
          <p:sp>
            <p:nvSpPr>
              <p:cNvPr id="282" name="Описание">
                <a:extLst>
                  <a:ext uri="{FF2B5EF4-FFF2-40B4-BE49-F238E27FC236}">
                    <a16:creationId xmlns:a16="http://schemas.microsoft.com/office/drawing/2014/main" id="{37F13AD8-3DD9-4ADF-9D8D-3F6BB86D594E}"/>
                  </a:ext>
                </a:extLst>
              </p:cNvPr>
              <p:cNvSpPr txBox="1"/>
              <p:nvPr/>
            </p:nvSpPr>
            <p:spPr>
              <a:xfrm>
                <a:off x="1857173" y="3107105"/>
                <a:ext cx="560240" cy="340906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SIM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268" name="Группа 267">
              <a:extLst>
                <a:ext uri="{FF2B5EF4-FFF2-40B4-BE49-F238E27FC236}">
                  <a16:creationId xmlns:a16="http://schemas.microsoft.com/office/drawing/2014/main" id="{7A4C0981-144E-4218-BE59-A35C3DC4A01D}"/>
                </a:ext>
              </a:extLst>
            </p:cNvPr>
            <p:cNvGrpSpPr/>
            <p:nvPr/>
          </p:nvGrpSpPr>
          <p:grpSpPr>
            <a:xfrm>
              <a:off x="326918" y="4028103"/>
              <a:ext cx="784011" cy="501872"/>
              <a:chOff x="617365" y="3874512"/>
              <a:chExt cx="1081377" cy="692225"/>
            </a:xfrm>
          </p:grpSpPr>
          <p:pic>
            <p:nvPicPr>
              <p:cNvPr id="279" name="Рисунок 278">
                <a:extLst>
                  <a:ext uri="{FF2B5EF4-FFF2-40B4-BE49-F238E27FC236}">
                    <a16:creationId xmlns:a16="http://schemas.microsoft.com/office/drawing/2014/main" id="{E9ECB85E-CA6E-49FC-8C43-B9670EEA37B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>
                <a:extLst>
                  <a:ext uri="{96DAC541-7B7A-43D3-8B79-37D633B846F1}">
                    <asvg:svgBlip xmlns:asvg="http://schemas.microsoft.com/office/drawing/2016/SVG/main" r:embed="rId15"/>
                  </a:ext>
                </a:extLst>
              </a:blip>
              <a:stretch>
                <a:fillRect/>
              </a:stretch>
            </p:blipFill>
            <p:spPr>
              <a:xfrm>
                <a:off x="637540" y="3874512"/>
                <a:ext cx="1061202" cy="649810"/>
              </a:xfrm>
              <a:prstGeom prst="rect">
                <a:avLst/>
              </a:prstGeom>
            </p:spPr>
          </p:pic>
          <p:sp>
            <p:nvSpPr>
              <p:cNvPr id="280" name="Описание">
                <a:extLst>
                  <a:ext uri="{FF2B5EF4-FFF2-40B4-BE49-F238E27FC236}">
                    <a16:creationId xmlns:a16="http://schemas.microsoft.com/office/drawing/2014/main" id="{5913C9CF-91EA-4AA1-8363-DD7969B9D37A}"/>
                  </a:ext>
                </a:extLst>
              </p:cNvPr>
              <p:cNvSpPr txBox="1"/>
              <p:nvPr/>
            </p:nvSpPr>
            <p:spPr>
              <a:xfrm>
                <a:off x="617365" y="4174535"/>
                <a:ext cx="819973" cy="392202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ARD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+mn-cs"/>
                </a:endParaRPr>
              </a:p>
            </p:txBody>
          </p:sp>
        </p:grpSp>
        <p:grpSp>
          <p:nvGrpSpPr>
            <p:cNvPr id="269" name="Группа 268">
              <a:extLst>
                <a:ext uri="{FF2B5EF4-FFF2-40B4-BE49-F238E27FC236}">
                  <a16:creationId xmlns:a16="http://schemas.microsoft.com/office/drawing/2014/main" id="{6E4D68DB-914D-409B-AD2D-641E75B98489}"/>
                </a:ext>
              </a:extLst>
            </p:cNvPr>
            <p:cNvGrpSpPr/>
            <p:nvPr/>
          </p:nvGrpSpPr>
          <p:grpSpPr>
            <a:xfrm>
              <a:off x="2015442" y="3984902"/>
              <a:ext cx="606419" cy="502270"/>
              <a:chOff x="5418342" y="2035427"/>
              <a:chExt cx="909135" cy="752996"/>
            </a:xfrm>
          </p:grpSpPr>
          <p:pic>
            <p:nvPicPr>
              <p:cNvPr id="271" name="Рисунок 270">
                <a:extLst>
                  <a:ext uri="{FF2B5EF4-FFF2-40B4-BE49-F238E27FC236}">
                    <a16:creationId xmlns:a16="http://schemas.microsoft.com/office/drawing/2014/main" id="{3E59B78D-5BA9-4A46-AB6B-8CACAE66C68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6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713383" y="2035427"/>
                <a:ext cx="614094" cy="752996"/>
              </a:xfrm>
              <a:prstGeom prst="rect">
                <a:avLst/>
              </a:prstGeom>
            </p:spPr>
          </p:pic>
          <p:grpSp>
            <p:nvGrpSpPr>
              <p:cNvPr id="272" name="Группа 271">
                <a:extLst>
                  <a:ext uri="{FF2B5EF4-FFF2-40B4-BE49-F238E27FC236}">
                    <a16:creationId xmlns:a16="http://schemas.microsoft.com/office/drawing/2014/main" id="{99E19161-3AE6-47A7-987D-F10C23D6A221}"/>
                  </a:ext>
                </a:extLst>
              </p:cNvPr>
              <p:cNvGrpSpPr/>
              <p:nvPr/>
            </p:nvGrpSpPr>
            <p:grpSpPr>
              <a:xfrm>
                <a:off x="5418342" y="2083431"/>
                <a:ext cx="673376" cy="690804"/>
                <a:chOff x="504301" y="2908240"/>
                <a:chExt cx="781089" cy="801306"/>
              </a:xfrm>
            </p:grpSpPr>
            <p:grpSp>
              <p:nvGrpSpPr>
                <p:cNvPr id="273" name="Рисунок 149">
                  <a:extLst>
                    <a:ext uri="{FF2B5EF4-FFF2-40B4-BE49-F238E27FC236}">
                      <a16:creationId xmlns:a16="http://schemas.microsoft.com/office/drawing/2014/main" id="{FA0D6165-4BBA-4C9D-8574-9661C690E97E}"/>
                    </a:ext>
                  </a:extLst>
                </p:cNvPr>
                <p:cNvGrpSpPr/>
                <p:nvPr/>
              </p:nvGrpSpPr>
              <p:grpSpPr>
                <a:xfrm>
                  <a:off x="604343" y="2908240"/>
                  <a:ext cx="613028" cy="801306"/>
                  <a:chOff x="703210" y="3059703"/>
                  <a:chExt cx="613028" cy="801306"/>
                </a:xfrm>
              </p:grpSpPr>
              <p:sp>
                <p:nvSpPr>
                  <p:cNvPr id="275" name="Полилиния: фигура 274">
                    <a:extLst>
                      <a:ext uri="{FF2B5EF4-FFF2-40B4-BE49-F238E27FC236}">
                        <a16:creationId xmlns:a16="http://schemas.microsoft.com/office/drawing/2014/main" id="{D6DA1160-7EA1-4080-B344-6DA238C6467F}"/>
                      </a:ext>
                    </a:extLst>
                  </p:cNvPr>
                  <p:cNvSpPr/>
                  <p:nvPr/>
                </p:nvSpPr>
                <p:spPr>
                  <a:xfrm>
                    <a:off x="703211" y="3059703"/>
                    <a:ext cx="612930" cy="801306"/>
                  </a:xfrm>
                  <a:custGeom>
                    <a:avLst/>
                    <a:gdLst>
                      <a:gd name="connsiteX0" fmla="*/ 551569 w 612930"/>
                      <a:gd name="connsiteY0" fmla="*/ 801209 h 801306"/>
                      <a:gd name="connsiteX1" fmla="*/ 61361 w 612930"/>
                      <a:gd name="connsiteY1" fmla="*/ 801209 h 801306"/>
                      <a:gd name="connsiteX2" fmla="*/ 0 w 612930"/>
                      <a:gd name="connsiteY2" fmla="*/ 739848 h 801306"/>
                      <a:gd name="connsiteX3" fmla="*/ 0 w 612930"/>
                      <a:gd name="connsiteY3" fmla="*/ 61361 h 801306"/>
                      <a:gd name="connsiteX4" fmla="*/ 61361 w 612930"/>
                      <a:gd name="connsiteY4" fmla="*/ 0 h 801306"/>
                      <a:gd name="connsiteX5" fmla="*/ 372265 w 612930"/>
                      <a:gd name="connsiteY5" fmla="*/ 0 h 801306"/>
                      <a:gd name="connsiteX6" fmla="*/ 612931 w 612930"/>
                      <a:gd name="connsiteY6" fmla="*/ 248079 h 801306"/>
                      <a:gd name="connsiteX7" fmla="*/ 612931 w 612930"/>
                      <a:gd name="connsiteY7" fmla="*/ 739945 h 801306"/>
                      <a:gd name="connsiteX8" fmla="*/ 551569 w 612930"/>
                      <a:gd name="connsiteY8" fmla="*/ 801307 h 801306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801306">
                        <a:moveTo>
                          <a:pt x="551569" y="801209"/>
                        </a:moveTo>
                        <a:lnTo>
                          <a:pt x="61361" y="801209"/>
                        </a:lnTo>
                        <a:cubicBezTo>
                          <a:pt x="27510" y="801209"/>
                          <a:pt x="0" y="773699"/>
                          <a:pt x="0" y="739848"/>
                        </a:cubicBezTo>
                        <a:lnTo>
                          <a:pt x="0" y="61361"/>
                        </a:lnTo>
                        <a:cubicBezTo>
                          <a:pt x="0" y="27510"/>
                          <a:pt x="27510" y="0"/>
                          <a:pt x="61361" y="0"/>
                        </a:cubicBezTo>
                        <a:lnTo>
                          <a:pt x="372265" y="0"/>
                        </a:lnTo>
                        <a:lnTo>
                          <a:pt x="612931" y="248079"/>
                        </a:lnTo>
                        <a:lnTo>
                          <a:pt x="612931" y="739945"/>
                        </a:lnTo>
                        <a:cubicBezTo>
                          <a:pt x="612931" y="773797"/>
                          <a:pt x="585420" y="801307"/>
                          <a:pt x="551569" y="801307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276" name="Полилиния: фигура 275">
                    <a:extLst>
                      <a:ext uri="{FF2B5EF4-FFF2-40B4-BE49-F238E27FC236}">
                        <a16:creationId xmlns:a16="http://schemas.microsoft.com/office/drawing/2014/main" id="{88FD86BD-A137-42B1-8E37-207604E79A3A}"/>
                      </a:ext>
                    </a:extLst>
                  </p:cNvPr>
                  <p:cNvSpPr/>
                  <p:nvPr/>
                </p:nvSpPr>
                <p:spPr>
                  <a:xfrm>
                    <a:off x="703210" y="3617810"/>
                    <a:ext cx="612928" cy="243104"/>
                  </a:xfrm>
                  <a:custGeom>
                    <a:avLst/>
                    <a:gdLst>
                      <a:gd name="connsiteX0" fmla="*/ 12097 w 612930"/>
                      <a:gd name="connsiteY0" fmla="*/ 0 h 243104"/>
                      <a:gd name="connsiteX1" fmla="*/ 600834 w 612930"/>
                      <a:gd name="connsiteY1" fmla="*/ 0 h 243104"/>
                      <a:gd name="connsiteX2" fmla="*/ 612931 w 612930"/>
                      <a:gd name="connsiteY2" fmla="*/ 12097 h 243104"/>
                      <a:gd name="connsiteX3" fmla="*/ 612931 w 612930"/>
                      <a:gd name="connsiteY3" fmla="*/ 179889 h 243104"/>
                      <a:gd name="connsiteX4" fmla="*/ 549716 w 612930"/>
                      <a:gd name="connsiteY4" fmla="*/ 243104 h 243104"/>
                      <a:gd name="connsiteX5" fmla="*/ 63215 w 612930"/>
                      <a:gd name="connsiteY5" fmla="*/ 243104 h 243104"/>
                      <a:gd name="connsiteX6" fmla="*/ 0 w 612930"/>
                      <a:gd name="connsiteY6" fmla="*/ 179889 h 243104"/>
                      <a:gd name="connsiteX7" fmla="*/ 0 w 612930"/>
                      <a:gd name="connsiteY7" fmla="*/ 12097 h 243104"/>
                      <a:gd name="connsiteX8" fmla="*/ 12097 w 612930"/>
                      <a:gd name="connsiteY8" fmla="*/ 0 h 243104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  <a:cxn ang="0">
                        <a:pos x="connsiteX7" y="connsiteY7"/>
                      </a:cxn>
                      <a:cxn ang="0">
                        <a:pos x="connsiteX8" y="connsiteY8"/>
                      </a:cxn>
                    </a:cxnLst>
                    <a:rect l="l" t="t" r="r" b="b"/>
                    <a:pathLst>
                      <a:path w="612930" h="243104">
                        <a:moveTo>
                          <a:pt x="12097" y="0"/>
                        </a:moveTo>
                        <a:lnTo>
                          <a:pt x="600834" y="0"/>
                        </a:lnTo>
                        <a:cubicBezTo>
                          <a:pt x="607468" y="0"/>
                          <a:pt x="612931" y="5463"/>
                          <a:pt x="612931" y="12097"/>
                        </a:cubicBezTo>
                        <a:lnTo>
                          <a:pt x="612931" y="179889"/>
                        </a:lnTo>
                        <a:cubicBezTo>
                          <a:pt x="612931" y="214813"/>
                          <a:pt x="584640" y="243104"/>
                          <a:pt x="549716" y="243104"/>
                        </a:cubicBezTo>
                        <a:lnTo>
                          <a:pt x="63215" y="243104"/>
                        </a:lnTo>
                        <a:cubicBezTo>
                          <a:pt x="28291" y="243104"/>
                          <a:pt x="0" y="214813"/>
                          <a:pt x="0" y="179889"/>
                        </a:cubicBezTo>
                        <a:lnTo>
                          <a:pt x="0" y="12097"/>
                        </a:lnTo>
                        <a:cubicBezTo>
                          <a:pt x="0" y="5463"/>
                          <a:pt x="5463" y="0"/>
                          <a:pt x="12097" y="0"/>
                        </a:cubicBezTo>
                        <a:close/>
                      </a:path>
                    </a:pathLst>
                  </a:custGeom>
                  <a:solidFill>
                    <a:srgbClr val="7C2323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277" name="Полилиния: фигура 276">
                    <a:extLst>
                      <a:ext uri="{FF2B5EF4-FFF2-40B4-BE49-F238E27FC236}">
                        <a16:creationId xmlns:a16="http://schemas.microsoft.com/office/drawing/2014/main" id="{757B4594-22E8-479E-B5FA-E39467B9AB6F}"/>
                      </a:ext>
                    </a:extLst>
                  </p:cNvPr>
                  <p:cNvSpPr/>
                  <p:nvPr/>
                </p:nvSpPr>
                <p:spPr>
                  <a:xfrm>
                    <a:off x="1075476" y="3059703"/>
                    <a:ext cx="240665" cy="248079"/>
                  </a:xfrm>
                  <a:custGeom>
                    <a:avLst/>
                    <a:gdLst>
                      <a:gd name="connsiteX0" fmla="*/ 0 w 240665"/>
                      <a:gd name="connsiteY0" fmla="*/ 0 h 248079"/>
                      <a:gd name="connsiteX1" fmla="*/ 0 w 240665"/>
                      <a:gd name="connsiteY1" fmla="*/ 191010 h 248079"/>
                      <a:gd name="connsiteX2" fmla="*/ 57069 w 240665"/>
                      <a:gd name="connsiteY2" fmla="*/ 248079 h 248079"/>
                      <a:gd name="connsiteX3" fmla="*/ 240665 w 240665"/>
                      <a:gd name="connsiteY3" fmla="*/ 248079 h 248079"/>
                      <a:gd name="connsiteX4" fmla="*/ 0 w 240665"/>
                      <a:gd name="connsiteY4" fmla="*/ 0 h 24807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</a:cxnLst>
                    <a:rect l="l" t="t" r="r" b="b"/>
                    <a:pathLst>
                      <a:path w="240665" h="248079">
                        <a:moveTo>
                          <a:pt x="0" y="0"/>
                        </a:moveTo>
                        <a:lnTo>
                          <a:pt x="0" y="191010"/>
                        </a:lnTo>
                        <a:cubicBezTo>
                          <a:pt x="0" y="222520"/>
                          <a:pt x="25559" y="248079"/>
                          <a:pt x="57069" y="248079"/>
                        </a:cubicBezTo>
                        <a:lnTo>
                          <a:pt x="240665" y="248079"/>
                        </a:lnTo>
                        <a:cubicBezTo>
                          <a:pt x="240665" y="248079"/>
                          <a:pt x="0" y="0"/>
                          <a:pt x="0" y="0"/>
                        </a:cubicBezTo>
                        <a:close/>
                      </a:path>
                    </a:pathLst>
                  </a:custGeom>
                  <a:solidFill>
                    <a:schemeClr val="bg2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  <p:sp>
                <p:nvSpPr>
                  <p:cNvPr id="278" name="Полилиния: фигура 277">
                    <a:extLst>
                      <a:ext uri="{FF2B5EF4-FFF2-40B4-BE49-F238E27FC236}">
                        <a16:creationId xmlns:a16="http://schemas.microsoft.com/office/drawing/2014/main" id="{C3A50CD7-385F-4158-A036-E863FDB78B8C}"/>
                      </a:ext>
                    </a:extLst>
                  </p:cNvPr>
                  <p:cNvSpPr/>
                  <p:nvPr/>
                </p:nvSpPr>
                <p:spPr>
                  <a:xfrm>
                    <a:off x="1077995" y="3267395"/>
                    <a:ext cx="238243" cy="92019"/>
                  </a:xfrm>
                  <a:custGeom>
                    <a:avLst/>
                    <a:gdLst>
                      <a:gd name="connsiteX0" fmla="*/ 17 w 238243"/>
                      <a:gd name="connsiteY0" fmla="*/ 0 h 92019"/>
                      <a:gd name="connsiteX1" fmla="*/ 50355 w 238243"/>
                      <a:gd name="connsiteY1" fmla="*/ 61556 h 92019"/>
                      <a:gd name="connsiteX2" fmla="*/ 56404 w 238243"/>
                      <a:gd name="connsiteY2" fmla="*/ 62922 h 92019"/>
                      <a:gd name="connsiteX3" fmla="*/ 238244 w 238243"/>
                      <a:gd name="connsiteY3" fmla="*/ 91701 h 92019"/>
                      <a:gd name="connsiteX4" fmla="*/ 238244 w 238243"/>
                      <a:gd name="connsiteY4" fmla="*/ 40387 h 92019"/>
                      <a:gd name="connsiteX5" fmla="*/ 54648 w 238243"/>
                      <a:gd name="connsiteY5" fmla="*/ 40387 h 92019"/>
                      <a:gd name="connsiteX6" fmla="*/ 115 w 238243"/>
                      <a:gd name="connsiteY6" fmla="*/ 98 h 92019"/>
                    </a:gdLst>
                    <a:ahLst/>
                    <a:cxnLst>
                      <a:cxn ang="0">
                        <a:pos x="connsiteX0" y="connsiteY0"/>
                      </a:cxn>
                      <a:cxn ang="0">
                        <a:pos x="connsiteX1" y="connsiteY1"/>
                      </a:cxn>
                      <a:cxn ang="0">
                        <a:pos x="connsiteX2" y="connsiteY2"/>
                      </a:cxn>
                      <a:cxn ang="0">
                        <a:pos x="connsiteX3" y="connsiteY3"/>
                      </a:cxn>
                      <a:cxn ang="0">
                        <a:pos x="connsiteX4" y="connsiteY4"/>
                      </a:cxn>
                      <a:cxn ang="0">
                        <a:pos x="connsiteX5" y="connsiteY5"/>
                      </a:cxn>
                      <a:cxn ang="0">
                        <a:pos x="connsiteX6" y="connsiteY6"/>
                      </a:cxn>
                    </a:cxnLst>
                    <a:rect l="l" t="t" r="r" b="b"/>
                    <a:pathLst>
                      <a:path w="238243" h="92019">
                        <a:moveTo>
                          <a:pt x="17" y="0"/>
                        </a:moveTo>
                        <a:cubicBezTo>
                          <a:pt x="17" y="0"/>
                          <a:pt x="-2421" y="46338"/>
                          <a:pt x="50355" y="61556"/>
                        </a:cubicBezTo>
                        <a:cubicBezTo>
                          <a:pt x="52306" y="62142"/>
                          <a:pt x="54355" y="62532"/>
                          <a:pt x="56404" y="62922"/>
                        </a:cubicBezTo>
                        <a:cubicBezTo>
                          <a:pt x="80402" y="67215"/>
                          <a:pt x="238244" y="95310"/>
                          <a:pt x="238244" y="91701"/>
                        </a:cubicBezTo>
                        <a:lnTo>
                          <a:pt x="238244" y="40387"/>
                        </a:lnTo>
                        <a:lnTo>
                          <a:pt x="54648" y="40387"/>
                        </a:lnTo>
                        <a:cubicBezTo>
                          <a:pt x="54648" y="40387"/>
                          <a:pt x="8797" y="38826"/>
                          <a:pt x="115" y="98"/>
                        </a:cubicBezTo>
                        <a:close/>
                      </a:path>
                    </a:pathLst>
                  </a:custGeom>
                  <a:solidFill>
                    <a:srgbClr val="C00000"/>
                  </a:solidFill>
                  <a:ln w="9676" cap="flat">
                    <a:noFill/>
                    <a:prstDash val="solid"/>
                    <a:miter/>
                  </a:ln>
                </p:spPr>
                <p:txBody>
                  <a:bodyPr rtlCol="0" anchor="ctr"/>
                  <a:lstStyle/>
                  <a:p>
                    <a:endParaRPr lang="ru-RU"/>
                  </a:p>
                </p:txBody>
              </p:sp>
            </p:grpSp>
            <p:sp>
              <p:nvSpPr>
                <p:cNvPr id="274" name="Описание">
                  <a:extLst>
                    <a:ext uri="{FF2B5EF4-FFF2-40B4-BE49-F238E27FC236}">
                      <a16:creationId xmlns:a16="http://schemas.microsoft.com/office/drawing/2014/main" id="{AA547069-B452-492D-8815-80D2D257D2E9}"/>
                    </a:ext>
                  </a:extLst>
                </p:cNvPr>
                <p:cNvSpPr txBox="1"/>
                <p:nvPr/>
              </p:nvSpPr>
              <p:spPr>
                <a:xfrm>
                  <a:off x="504301" y="3181235"/>
                  <a:ext cx="781089" cy="321134"/>
                </a:xfrm>
                <a:prstGeom prst="rect">
                  <a:avLst/>
                </a:prstGeom>
                <a:noFill/>
              </p:spPr>
              <p:txBody>
                <a:bodyPr wrap="none" rtlCol="0">
                  <a:spAutoFit/>
                </a:bodyPr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600" b="1" i="0" u="none" strike="noStrike" kern="1200" cap="none" spc="0" normalizeH="0" baseline="0" noProof="0" dirty="0">
                      <a:ln>
                        <a:noFill/>
                      </a:ln>
                      <a:solidFill>
                        <a:schemeClr val="bg1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ОЛИС</a:t>
                  </a:r>
                  <a:endParaRPr kumimoji="0" lang="ru-RU" sz="8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</p:grpSp>
        <p:pic>
          <p:nvPicPr>
            <p:cNvPr id="270" name="Рисунок 269">
              <a:extLst>
                <a:ext uri="{FF2B5EF4-FFF2-40B4-BE49-F238E27FC236}">
                  <a16:creationId xmlns:a16="http://schemas.microsoft.com/office/drawing/2014/main" id="{417D8656-91AA-4F7A-AE80-8CFA907E8CEF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 rot="20939646">
              <a:off x="1009014" y="2794890"/>
              <a:ext cx="914830" cy="856746"/>
            </a:xfrm>
            <a:prstGeom prst="rect">
              <a:avLst/>
            </a:prstGeom>
          </p:spPr>
        </p:pic>
      </p:grpSp>
      <p:grpSp>
        <p:nvGrpSpPr>
          <p:cNvPr id="303" name="Группа 302">
            <a:extLst>
              <a:ext uri="{FF2B5EF4-FFF2-40B4-BE49-F238E27FC236}">
                <a16:creationId xmlns:a16="http://schemas.microsoft.com/office/drawing/2014/main" id="{8F32797F-5BDD-4B9D-86A7-BDE6227CCF5D}"/>
              </a:ext>
            </a:extLst>
          </p:cNvPr>
          <p:cNvGrpSpPr/>
          <p:nvPr/>
        </p:nvGrpSpPr>
        <p:grpSpPr>
          <a:xfrm>
            <a:off x="17583201" y="2296867"/>
            <a:ext cx="6708345" cy="2795833"/>
            <a:chOff x="2757997" y="2296867"/>
            <a:chExt cx="6708345" cy="2795833"/>
          </a:xfrm>
        </p:grpSpPr>
        <p:cxnSp>
          <p:nvCxnSpPr>
            <p:cNvPr id="304" name="Прямая соединительная линия 303">
              <a:extLst>
                <a:ext uri="{FF2B5EF4-FFF2-40B4-BE49-F238E27FC236}">
                  <a16:creationId xmlns:a16="http://schemas.microsoft.com/office/drawing/2014/main" id="{04A40AF4-680A-4FB6-BE5A-39D77BA58D49}"/>
                </a:ext>
              </a:extLst>
            </p:cNvPr>
            <p:cNvCxnSpPr>
              <a:cxnSpLocks/>
              <a:stCxn id="342" idx="2"/>
            </p:cNvCxnSpPr>
            <p:nvPr/>
          </p:nvCxnSpPr>
          <p:spPr>
            <a:xfrm>
              <a:off x="3427354" y="2521358"/>
              <a:ext cx="0" cy="235332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5" name="Прямая соединительная линия 304">
              <a:extLst>
                <a:ext uri="{FF2B5EF4-FFF2-40B4-BE49-F238E27FC236}">
                  <a16:creationId xmlns:a16="http://schemas.microsoft.com/office/drawing/2014/main" id="{DDF08FF3-29F7-493D-A894-5814B794B021}"/>
                </a:ext>
              </a:extLst>
            </p:cNvPr>
            <p:cNvCxnSpPr>
              <a:cxnSpLocks/>
              <a:stCxn id="338" idx="2"/>
            </p:cNvCxnSpPr>
            <p:nvPr/>
          </p:nvCxnSpPr>
          <p:spPr>
            <a:xfrm>
              <a:off x="4297868" y="3018414"/>
              <a:ext cx="133" cy="192823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6" name="Прямая соединительная линия 305">
              <a:extLst>
                <a:ext uri="{FF2B5EF4-FFF2-40B4-BE49-F238E27FC236}">
                  <a16:creationId xmlns:a16="http://schemas.microsoft.com/office/drawing/2014/main" id="{85024C5C-1F1A-4B19-976E-08DCA6CC398A}"/>
                </a:ext>
              </a:extLst>
            </p:cNvPr>
            <p:cNvCxnSpPr>
              <a:cxnSpLocks/>
              <a:stCxn id="334" idx="2"/>
            </p:cNvCxnSpPr>
            <p:nvPr/>
          </p:nvCxnSpPr>
          <p:spPr>
            <a:xfrm>
              <a:off x="5192528" y="2580095"/>
              <a:ext cx="0" cy="2512605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7" name="Прямая соединительная линия 306">
              <a:extLst>
                <a:ext uri="{FF2B5EF4-FFF2-40B4-BE49-F238E27FC236}">
                  <a16:creationId xmlns:a16="http://schemas.microsoft.com/office/drawing/2014/main" id="{F53127AE-CDB8-41EA-89EF-9BCD3206A862}"/>
                </a:ext>
              </a:extLst>
            </p:cNvPr>
            <p:cNvCxnSpPr>
              <a:cxnSpLocks/>
              <a:stCxn id="330" idx="2"/>
            </p:cNvCxnSpPr>
            <p:nvPr/>
          </p:nvCxnSpPr>
          <p:spPr>
            <a:xfrm>
              <a:off x="6010515" y="3175412"/>
              <a:ext cx="0" cy="1699271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8" name="Прямая соединительная линия 307">
              <a:extLst>
                <a:ext uri="{FF2B5EF4-FFF2-40B4-BE49-F238E27FC236}">
                  <a16:creationId xmlns:a16="http://schemas.microsoft.com/office/drawing/2014/main" id="{C9E41E32-FDF7-452F-8834-E8B102E48176}"/>
                </a:ext>
              </a:extLst>
            </p:cNvPr>
            <p:cNvCxnSpPr>
              <a:cxnSpLocks/>
              <a:stCxn id="326" idx="2"/>
            </p:cNvCxnSpPr>
            <p:nvPr/>
          </p:nvCxnSpPr>
          <p:spPr>
            <a:xfrm>
              <a:off x="6910816" y="2521358"/>
              <a:ext cx="0" cy="2535782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9" name="Прямая соединительная линия 308">
              <a:extLst>
                <a:ext uri="{FF2B5EF4-FFF2-40B4-BE49-F238E27FC236}">
                  <a16:creationId xmlns:a16="http://schemas.microsoft.com/office/drawing/2014/main" id="{2063970D-C320-4997-B0F4-5E0F60CC4747}"/>
                </a:ext>
              </a:extLst>
            </p:cNvPr>
            <p:cNvCxnSpPr>
              <a:cxnSpLocks/>
              <a:stCxn id="322" idx="2"/>
            </p:cNvCxnSpPr>
            <p:nvPr/>
          </p:nvCxnSpPr>
          <p:spPr>
            <a:xfrm>
              <a:off x="7803647" y="3018414"/>
              <a:ext cx="0" cy="1928236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0" name="Прямая соединительная линия 309">
              <a:extLst>
                <a:ext uri="{FF2B5EF4-FFF2-40B4-BE49-F238E27FC236}">
                  <a16:creationId xmlns:a16="http://schemas.microsoft.com/office/drawing/2014/main" id="{D9F926C8-FF95-4135-A584-A159598F6E09}"/>
                </a:ext>
              </a:extLst>
            </p:cNvPr>
            <p:cNvCxnSpPr>
              <a:cxnSpLocks/>
              <a:stCxn id="318" idx="2"/>
            </p:cNvCxnSpPr>
            <p:nvPr/>
          </p:nvCxnSpPr>
          <p:spPr>
            <a:xfrm>
              <a:off x="8796985" y="2580095"/>
              <a:ext cx="0" cy="2388780"/>
            </a:xfrm>
            <a:prstGeom prst="line">
              <a:avLst/>
            </a:prstGeom>
            <a:ln w="12700">
              <a:solidFill>
                <a:schemeClr val="tx1">
                  <a:lumMod val="50000"/>
                  <a:lumOff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11" name="Группа 310">
              <a:extLst>
                <a:ext uri="{FF2B5EF4-FFF2-40B4-BE49-F238E27FC236}">
                  <a16:creationId xmlns:a16="http://schemas.microsoft.com/office/drawing/2014/main" id="{5000EFB6-0463-41AA-A33E-1C5A281122C9}"/>
                </a:ext>
              </a:extLst>
            </p:cNvPr>
            <p:cNvGrpSpPr/>
            <p:nvPr/>
          </p:nvGrpSpPr>
          <p:grpSpPr>
            <a:xfrm>
              <a:off x="2757997" y="2296867"/>
              <a:ext cx="1338714" cy="224491"/>
              <a:chOff x="6510195" y="1556711"/>
              <a:chExt cx="5051622" cy="847113"/>
            </a:xfrm>
          </p:grpSpPr>
          <p:sp>
            <p:nvSpPr>
              <p:cNvPr id="342" name="Rounded Rectangle">
                <a:extLst>
                  <a:ext uri="{FF2B5EF4-FFF2-40B4-BE49-F238E27FC236}">
                    <a16:creationId xmlns:a16="http://schemas.microsoft.com/office/drawing/2014/main" id="{D62FCBEC-973D-4E2A-BAF4-A2E622B4035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43" name="Motion design">
                <a:extLst>
                  <a:ext uri="{FF2B5EF4-FFF2-40B4-BE49-F238E27FC236}">
                    <a16:creationId xmlns:a16="http://schemas.microsoft.com/office/drawing/2014/main" id="{886FB470-7541-49FD-A4F9-D62CAF8B161A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Регуляторы</a:t>
                </a:r>
              </a:p>
            </p:txBody>
          </p:sp>
          <p:sp>
            <p:nvSpPr>
              <p:cNvPr id="344" name="Circle">
                <a:extLst>
                  <a:ext uri="{FF2B5EF4-FFF2-40B4-BE49-F238E27FC236}">
                    <a16:creationId xmlns:a16="http://schemas.microsoft.com/office/drawing/2014/main" id="{026AF494-7782-405C-BBEF-EA0D5C39136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45" name="Рисунок 344">
                <a:extLst>
                  <a:ext uri="{FF2B5EF4-FFF2-40B4-BE49-F238E27FC236}">
                    <a16:creationId xmlns:a16="http://schemas.microsoft.com/office/drawing/2014/main" id="{D4A948E1-6F51-4EA6-99FF-18D296D0658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2" name="Группа 311">
              <a:extLst>
                <a:ext uri="{FF2B5EF4-FFF2-40B4-BE49-F238E27FC236}">
                  <a16:creationId xmlns:a16="http://schemas.microsoft.com/office/drawing/2014/main" id="{B7DA0E6A-1E74-4EE6-A395-62096CF62805}"/>
                </a:ext>
              </a:extLst>
            </p:cNvPr>
            <p:cNvGrpSpPr/>
            <p:nvPr/>
          </p:nvGrpSpPr>
          <p:grpSpPr>
            <a:xfrm>
              <a:off x="3628511" y="2793923"/>
              <a:ext cx="1338714" cy="224491"/>
              <a:chOff x="6510195" y="1556711"/>
              <a:chExt cx="5051622" cy="847113"/>
            </a:xfrm>
          </p:grpSpPr>
          <p:sp>
            <p:nvSpPr>
              <p:cNvPr id="338" name="Rounded Rectangle">
                <a:extLst>
                  <a:ext uri="{FF2B5EF4-FFF2-40B4-BE49-F238E27FC236}">
                    <a16:creationId xmlns:a16="http://schemas.microsoft.com/office/drawing/2014/main" id="{61FA928D-E0D0-490D-AA80-F4F9F6EAC8CC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39" name="Motion design">
                <a:extLst>
                  <a:ext uri="{FF2B5EF4-FFF2-40B4-BE49-F238E27FC236}">
                    <a16:creationId xmlns:a16="http://schemas.microsoft.com/office/drawing/2014/main" id="{BC0864F7-204A-4E02-9EE2-4099CEE51A5E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Хаос в данных</a:t>
                </a:r>
              </a:p>
            </p:txBody>
          </p:sp>
          <p:sp>
            <p:nvSpPr>
              <p:cNvPr id="340" name="Circle">
                <a:extLst>
                  <a:ext uri="{FF2B5EF4-FFF2-40B4-BE49-F238E27FC236}">
                    <a16:creationId xmlns:a16="http://schemas.microsoft.com/office/drawing/2014/main" id="{2403A9FD-3689-4964-82FF-E89D4CEB7FFD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41" name="Рисунок 340">
                <a:extLst>
                  <a:ext uri="{FF2B5EF4-FFF2-40B4-BE49-F238E27FC236}">
                    <a16:creationId xmlns:a16="http://schemas.microsoft.com/office/drawing/2014/main" id="{0F2CB89E-2BFE-42F7-B60B-B5BFCA470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3" name="Группа 312">
              <a:extLst>
                <a:ext uri="{FF2B5EF4-FFF2-40B4-BE49-F238E27FC236}">
                  <a16:creationId xmlns:a16="http://schemas.microsoft.com/office/drawing/2014/main" id="{CCA84F73-6F77-427C-999F-4595FB30FDEF}"/>
                </a:ext>
              </a:extLst>
            </p:cNvPr>
            <p:cNvGrpSpPr/>
            <p:nvPr/>
          </p:nvGrpSpPr>
          <p:grpSpPr>
            <a:xfrm>
              <a:off x="4523171" y="2355604"/>
              <a:ext cx="1338714" cy="224491"/>
              <a:chOff x="6510195" y="1556711"/>
              <a:chExt cx="5051622" cy="847113"/>
            </a:xfrm>
          </p:grpSpPr>
          <p:sp>
            <p:nvSpPr>
              <p:cNvPr id="334" name="Rounded Rectangle">
                <a:extLst>
                  <a:ext uri="{FF2B5EF4-FFF2-40B4-BE49-F238E27FC236}">
                    <a16:creationId xmlns:a16="http://schemas.microsoft.com/office/drawing/2014/main" id="{317498E8-8016-4DE1-B566-0BC3D1EAE1CF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35" name="Motion design">
                <a:extLst>
                  <a:ext uri="{FF2B5EF4-FFF2-40B4-BE49-F238E27FC236}">
                    <a16:creationId xmlns:a16="http://schemas.microsoft.com/office/drawing/2014/main" id="{BCBC59CF-CAF3-4A1A-ADBB-7CAFED30B098}"/>
                  </a:ext>
                </a:extLst>
              </p:cNvPr>
              <p:cNvSpPr txBox="1"/>
              <p:nvPr/>
            </p:nvSpPr>
            <p:spPr>
              <a:xfrm>
                <a:off x="7360917" y="1662599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Legacy-</a:t>
                </a: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системы</a:t>
                </a:r>
              </a:p>
            </p:txBody>
          </p:sp>
          <p:sp>
            <p:nvSpPr>
              <p:cNvPr id="336" name="Circle">
                <a:extLst>
                  <a:ext uri="{FF2B5EF4-FFF2-40B4-BE49-F238E27FC236}">
                    <a16:creationId xmlns:a16="http://schemas.microsoft.com/office/drawing/2014/main" id="{84A53D51-7A3A-4F12-9AFA-052DB5366AE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37" name="Рисунок 336">
                <a:extLst>
                  <a:ext uri="{FF2B5EF4-FFF2-40B4-BE49-F238E27FC236}">
                    <a16:creationId xmlns:a16="http://schemas.microsoft.com/office/drawing/2014/main" id="{29AA3998-DF1A-440E-B62A-6718C1B172C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4" name="Группа 313">
              <a:extLst>
                <a:ext uri="{FF2B5EF4-FFF2-40B4-BE49-F238E27FC236}">
                  <a16:creationId xmlns:a16="http://schemas.microsoft.com/office/drawing/2014/main" id="{2CA00EE1-9E35-4758-A5FC-C7B7A4F3E463}"/>
                </a:ext>
              </a:extLst>
            </p:cNvPr>
            <p:cNvGrpSpPr/>
            <p:nvPr/>
          </p:nvGrpSpPr>
          <p:grpSpPr>
            <a:xfrm>
              <a:off x="5341158" y="2950921"/>
              <a:ext cx="1338714" cy="224491"/>
              <a:chOff x="6510195" y="1556711"/>
              <a:chExt cx="5051622" cy="847113"/>
            </a:xfrm>
          </p:grpSpPr>
          <p:sp>
            <p:nvSpPr>
              <p:cNvPr id="330" name="Rounded Rectangle">
                <a:extLst>
                  <a:ext uri="{FF2B5EF4-FFF2-40B4-BE49-F238E27FC236}">
                    <a16:creationId xmlns:a16="http://schemas.microsoft.com/office/drawing/2014/main" id="{A7B4337F-9290-4039-B9F6-D13E20C9B030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31" name="Motion design">
                <a:extLst>
                  <a:ext uri="{FF2B5EF4-FFF2-40B4-BE49-F238E27FC236}">
                    <a16:creationId xmlns:a16="http://schemas.microsoft.com/office/drawing/2014/main" id="{48FB5F0A-A33A-4B65-939B-88A45C93D310}"/>
                  </a:ext>
                </a:extLst>
              </p:cNvPr>
              <p:cNvSpPr txBox="1"/>
              <p:nvPr/>
            </p:nvSpPr>
            <p:spPr>
              <a:xfrm>
                <a:off x="7333283" y="1694817"/>
                <a:ext cx="3904915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Ограничения железа</a:t>
                </a:r>
              </a:p>
            </p:txBody>
          </p:sp>
          <p:sp>
            <p:nvSpPr>
              <p:cNvPr id="332" name="Circle">
                <a:extLst>
                  <a:ext uri="{FF2B5EF4-FFF2-40B4-BE49-F238E27FC236}">
                    <a16:creationId xmlns:a16="http://schemas.microsoft.com/office/drawing/2014/main" id="{73EA5845-6B67-4154-B009-0D2606309D4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33" name="Рисунок 332">
                <a:extLst>
                  <a:ext uri="{FF2B5EF4-FFF2-40B4-BE49-F238E27FC236}">
                    <a16:creationId xmlns:a16="http://schemas.microsoft.com/office/drawing/2014/main" id="{5651AB13-5058-485B-BAF1-EFED56A85E2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5" name="Группа 314">
              <a:extLst>
                <a:ext uri="{FF2B5EF4-FFF2-40B4-BE49-F238E27FC236}">
                  <a16:creationId xmlns:a16="http://schemas.microsoft.com/office/drawing/2014/main" id="{661B964A-C3CA-41A7-B441-5866F5DBA22C}"/>
                </a:ext>
              </a:extLst>
            </p:cNvPr>
            <p:cNvGrpSpPr/>
            <p:nvPr/>
          </p:nvGrpSpPr>
          <p:grpSpPr>
            <a:xfrm>
              <a:off x="6241459" y="2296867"/>
              <a:ext cx="1338714" cy="224491"/>
              <a:chOff x="6510195" y="1556711"/>
              <a:chExt cx="5051622" cy="847113"/>
            </a:xfrm>
          </p:grpSpPr>
          <p:sp>
            <p:nvSpPr>
              <p:cNvPr id="326" name="Rounded Rectangle">
                <a:extLst>
                  <a:ext uri="{FF2B5EF4-FFF2-40B4-BE49-F238E27FC236}">
                    <a16:creationId xmlns:a16="http://schemas.microsoft.com/office/drawing/2014/main" id="{97EAE62F-9F9E-457C-B456-A0540256496B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27" name="Motion design">
                <a:extLst>
                  <a:ext uri="{FF2B5EF4-FFF2-40B4-BE49-F238E27FC236}">
                    <a16:creationId xmlns:a16="http://schemas.microsoft.com/office/drawing/2014/main" id="{1B58D242-F889-43FF-93CD-9C8576828E8D}"/>
                  </a:ext>
                </a:extLst>
              </p:cNvPr>
              <p:cNvSpPr txBox="1"/>
              <p:nvPr/>
            </p:nvSpPr>
            <p:spPr>
              <a:xfrm>
                <a:off x="7377048" y="1680440"/>
                <a:ext cx="410132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Человеческий фактор</a:t>
                </a:r>
              </a:p>
            </p:txBody>
          </p:sp>
          <p:sp>
            <p:nvSpPr>
              <p:cNvPr id="328" name="Circle">
                <a:extLst>
                  <a:ext uri="{FF2B5EF4-FFF2-40B4-BE49-F238E27FC236}">
                    <a16:creationId xmlns:a16="http://schemas.microsoft.com/office/drawing/2014/main" id="{6B64D628-A6DC-4C92-AB48-51F9A98A4E73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29" name="Рисунок 328">
                <a:extLst>
                  <a:ext uri="{FF2B5EF4-FFF2-40B4-BE49-F238E27FC236}">
                    <a16:creationId xmlns:a16="http://schemas.microsoft.com/office/drawing/2014/main" id="{FC7FDF24-3501-44B6-8F3A-FF2026E22E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6" name="Группа 315">
              <a:extLst>
                <a:ext uri="{FF2B5EF4-FFF2-40B4-BE49-F238E27FC236}">
                  <a16:creationId xmlns:a16="http://schemas.microsoft.com/office/drawing/2014/main" id="{D58BD44E-D308-435E-8AAB-3C8220046382}"/>
                </a:ext>
              </a:extLst>
            </p:cNvPr>
            <p:cNvGrpSpPr/>
            <p:nvPr/>
          </p:nvGrpSpPr>
          <p:grpSpPr>
            <a:xfrm>
              <a:off x="7032213" y="2793923"/>
              <a:ext cx="1542867" cy="224491"/>
              <a:chOff x="6510191" y="1556711"/>
              <a:chExt cx="5821990" cy="847113"/>
            </a:xfrm>
          </p:grpSpPr>
          <p:sp>
            <p:nvSpPr>
              <p:cNvPr id="322" name="Rounded Rectangle">
                <a:extLst>
                  <a:ext uri="{FF2B5EF4-FFF2-40B4-BE49-F238E27FC236}">
                    <a16:creationId xmlns:a16="http://schemas.microsoft.com/office/drawing/2014/main" id="{07AE963F-64B5-428B-AA41-B578113F845F}"/>
                  </a:ext>
                </a:extLst>
              </p:cNvPr>
              <p:cNvSpPr/>
              <p:nvPr/>
            </p:nvSpPr>
            <p:spPr>
              <a:xfrm>
                <a:off x="6510191" y="1556711"/>
                <a:ext cx="5821990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23" name="Motion design">
                <a:extLst>
                  <a:ext uri="{FF2B5EF4-FFF2-40B4-BE49-F238E27FC236}">
                    <a16:creationId xmlns:a16="http://schemas.microsoft.com/office/drawing/2014/main" id="{E713B6D1-5878-4A6C-B35C-852DCCF5C1AD}"/>
                  </a:ext>
                </a:extLst>
              </p:cNvPr>
              <p:cNvSpPr txBox="1"/>
              <p:nvPr/>
            </p:nvSpPr>
            <p:spPr>
              <a:xfrm>
                <a:off x="7434556" y="1694817"/>
                <a:ext cx="4412155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Изменения внеш. среды</a:t>
                </a:r>
              </a:p>
            </p:txBody>
          </p:sp>
          <p:sp>
            <p:nvSpPr>
              <p:cNvPr id="324" name="Circle">
                <a:extLst>
                  <a:ext uri="{FF2B5EF4-FFF2-40B4-BE49-F238E27FC236}">
                    <a16:creationId xmlns:a16="http://schemas.microsoft.com/office/drawing/2014/main" id="{0C588C4C-5F5B-4686-BA07-ED38191CF83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25" name="Рисунок 324">
                <a:extLst>
                  <a:ext uri="{FF2B5EF4-FFF2-40B4-BE49-F238E27FC236}">
                    <a16:creationId xmlns:a16="http://schemas.microsoft.com/office/drawing/2014/main" id="{7128018E-4D21-4AAB-B951-5C46F588A95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  <p:grpSp>
          <p:nvGrpSpPr>
            <p:cNvPr id="317" name="Группа 316">
              <a:extLst>
                <a:ext uri="{FF2B5EF4-FFF2-40B4-BE49-F238E27FC236}">
                  <a16:creationId xmlns:a16="http://schemas.microsoft.com/office/drawing/2014/main" id="{C7ACB02B-A935-4EEE-9670-712A0F16C86B}"/>
                </a:ext>
              </a:extLst>
            </p:cNvPr>
            <p:cNvGrpSpPr/>
            <p:nvPr/>
          </p:nvGrpSpPr>
          <p:grpSpPr>
            <a:xfrm>
              <a:off x="8127628" y="2355604"/>
              <a:ext cx="1338714" cy="224491"/>
              <a:chOff x="6510195" y="1556711"/>
              <a:chExt cx="5051622" cy="847113"/>
            </a:xfrm>
          </p:grpSpPr>
          <p:sp>
            <p:nvSpPr>
              <p:cNvPr id="318" name="Rounded Rectangle">
                <a:extLst>
                  <a:ext uri="{FF2B5EF4-FFF2-40B4-BE49-F238E27FC236}">
                    <a16:creationId xmlns:a16="http://schemas.microsoft.com/office/drawing/2014/main" id="{8F7740FC-E5EF-4D26-BDB8-BA45ADED5612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9" name="Motion design">
                <a:extLst>
                  <a:ext uri="{FF2B5EF4-FFF2-40B4-BE49-F238E27FC236}">
                    <a16:creationId xmlns:a16="http://schemas.microsoft.com/office/drawing/2014/main" id="{03976B30-0B77-4A7D-A1DA-C6A327D7E4C8}"/>
                  </a:ext>
                </a:extLst>
              </p:cNvPr>
              <p:cNvSpPr txBox="1"/>
              <p:nvPr/>
            </p:nvSpPr>
            <p:spPr>
              <a:xfrm>
                <a:off x="7360917" y="1662599"/>
                <a:ext cx="3691419" cy="549725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algn="ctr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Чёрные лебеди</a:t>
                </a:r>
              </a:p>
            </p:txBody>
          </p:sp>
          <p:sp>
            <p:nvSpPr>
              <p:cNvPr id="320" name="Circle">
                <a:extLst>
                  <a:ext uri="{FF2B5EF4-FFF2-40B4-BE49-F238E27FC236}">
                    <a16:creationId xmlns:a16="http://schemas.microsoft.com/office/drawing/2014/main" id="{46AF0947-2027-4677-81D5-037CCEF426C1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pic>
            <p:nvPicPr>
              <p:cNvPr id="321" name="Рисунок 320">
                <a:extLst>
                  <a:ext uri="{FF2B5EF4-FFF2-40B4-BE49-F238E27FC236}">
                    <a16:creationId xmlns:a16="http://schemas.microsoft.com/office/drawing/2014/main" id="{A62F142F-5670-4AEC-A660-EC14CE81F30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>
                <a:extLst>
                  <a:ext uri="{96DAC541-7B7A-43D3-8B79-37D633B846F1}">
                    <asvg:svgBlip xmlns:asvg="http://schemas.microsoft.com/office/drawing/2016/SVG/main" r:embed="rId3"/>
                  </a:ext>
                </a:extLst>
              </a:blip>
              <a:stretch>
                <a:fillRect/>
              </a:stretch>
            </p:blipFill>
            <p:spPr>
              <a:xfrm>
                <a:off x="6760288" y="1802015"/>
                <a:ext cx="383462" cy="330367"/>
              </a:xfrm>
              <a:prstGeom prst="rect">
                <a:avLst/>
              </a:prstGeom>
            </p:spPr>
          </p:pic>
        </p:grpSp>
      </p:grpSp>
      <p:sp>
        <p:nvSpPr>
          <p:cNvPr id="346" name="Овал 345">
            <a:extLst>
              <a:ext uri="{FF2B5EF4-FFF2-40B4-BE49-F238E27FC236}">
                <a16:creationId xmlns:a16="http://schemas.microsoft.com/office/drawing/2014/main" id="{46DB4623-B438-4EF6-8003-37614724CC29}"/>
              </a:ext>
            </a:extLst>
          </p:cNvPr>
          <p:cNvSpPr/>
          <p:nvPr/>
        </p:nvSpPr>
        <p:spPr>
          <a:xfrm>
            <a:off x="2434521" y="5155871"/>
            <a:ext cx="7246704" cy="266679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47" name="Рисунок 346">
            <a:extLst>
              <a:ext uri="{FF2B5EF4-FFF2-40B4-BE49-F238E27FC236}">
                <a16:creationId xmlns:a16="http://schemas.microsoft.com/office/drawing/2014/main" id="{B9BAE43A-9D06-46D8-9278-47AD2944754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 flipH="1">
            <a:off x="5817400" y="4600270"/>
            <a:ext cx="2671510" cy="674314"/>
          </a:xfrm>
          <a:prstGeom prst="rect">
            <a:avLst/>
          </a:prstGeom>
        </p:spPr>
      </p:pic>
      <p:pic>
        <p:nvPicPr>
          <p:cNvPr id="348" name="Рисунок 347">
            <a:extLst>
              <a:ext uri="{FF2B5EF4-FFF2-40B4-BE49-F238E27FC236}">
                <a16:creationId xmlns:a16="http://schemas.microsoft.com/office/drawing/2014/main" id="{36023D3E-F572-4C22-9064-69E0531560B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2503109" y="4600270"/>
            <a:ext cx="2671510" cy="674314"/>
          </a:xfrm>
          <a:prstGeom prst="rect">
            <a:avLst/>
          </a:prstGeom>
        </p:spPr>
      </p:pic>
      <p:pic>
        <p:nvPicPr>
          <p:cNvPr id="349" name="Рисунок 348">
            <a:extLst>
              <a:ext uri="{FF2B5EF4-FFF2-40B4-BE49-F238E27FC236}">
                <a16:creationId xmlns:a16="http://schemas.microsoft.com/office/drawing/2014/main" id="{0CD99AAE-52C2-4474-A437-A907C79ED863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3838864" y="4600271"/>
            <a:ext cx="2671510" cy="674314"/>
          </a:xfrm>
          <a:prstGeom prst="rect">
            <a:avLst/>
          </a:prstGeom>
        </p:spPr>
      </p:pic>
      <p:pic>
        <p:nvPicPr>
          <p:cNvPr id="350" name="Рисунок 349">
            <a:extLst>
              <a:ext uri="{FF2B5EF4-FFF2-40B4-BE49-F238E27FC236}">
                <a16:creationId xmlns:a16="http://schemas.microsoft.com/office/drawing/2014/main" id="{670B957D-7D59-4D55-A97C-1E686FB3AF94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6936040" y="4600270"/>
            <a:ext cx="2671510" cy="6743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256887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250">
        <p159:morph option="byObject"/>
      </p:transition>
    </mc:Choice>
    <mc:Fallback xmlns="">
      <p:transition spd="slow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6278ED0C-F1AF-4224-B016-BCC1EC1DBF11}"/>
              </a:ext>
            </a:extLst>
          </p:cNvPr>
          <p:cNvGrpSpPr/>
          <p:nvPr/>
        </p:nvGrpSpPr>
        <p:grpSpPr>
          <a:xfrm>
            <a:off x="3785721" y="1717852"/>
            <a:ext cx="4627594" cy="4021923"/>
            <a:chOff x="3785721" y="1717852"/>
            <a:chExt cx="4627594" cy="4021923"/>
          </a:xfrm>
        </p:grpSpPr>
        <p:sp>
          <p:nvSpPr>
            <p:cNvPr id="149" name="Shape_фон">
              <a:extLst>
                <a:ext uri="{FF2B5EF4-FFF2-40B4-BE49-F238E27FC236}">
                  <a16:creationId xmlns:a16="http://schemas.microsoft.com/office/drawing/2014/main" id="{AD9C9007-E932-4F59-ADDF-B5B9D40627E7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" name="Группа 1">
              <a:extLst>
                <a:ext uri="{FF2B5EF4-FFF2-40B4-BE49-F238E27FC236}">
                  <a16:creationId xmlns:a16="http://schemas.microsoft.com/office/drawing/2014/main" id="{58D05103-1E9C-4C0D-8D53-341A5846DFD4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97" name="Shape_фон">
                <a:extLst>
                  <a:ext uri="{FF2B5EF4-FFF2-40B4-BE49-F238E27FC236}">
                    <a16:creationId xmlns:a16="http://schemas.microsoft.com/office/drawing/2014/main" id="{4DEFDE77-596E-454E-A0EC-5D7463F2F03A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44" name="Motion design">
                <a:extLst>
                  <a:ext uri="{FF2B5EF4-FFF2-40B4-BE49-F238E27FC236}">
                    <a16:creationId xmlns:a16="http://schemas.microsoft.com/office/drawing/2014/main" id="{B0E8BB8E-C2B7-45DF-A24A-1695587BCF53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4" name="Группа 23">
              <a:extLst>
                <a:ext uri="{FF2B5EF4-FFF2-40B4-BE49-F238E27FC236}">
                  <a16:creationId xmlns:a16="http://schemas.microsoft.com/office/drawing/2014/main" id="{B9F0A1D2-0EF3-4B67-A109-8C62E1E6B11B}"/>
                </a:ext>
              </a:extLst>
            </p:cNvPr>
            <p:cNvGrpSpPr/>
            <p:nvPr/>
          </p:nvGrpSpPr>
          <p:grpSpPr>
            <a:xfrm>
              <a:off x="4134678" y="4254926"/>
              <a:ext cx="3873414" cy="1269125"/>
              <a:chOff x="4134678" y="4610689"/>
              <a:chExt cx="3873414" cy="1269125"/>
            </a:xfrm>
          </p:grpSpPr>
          <p:grpSp>
            <p:nvGrpSpPr>
              <p:cNvPr id="23" name="Группа 22">
                <a:extLst>
                  <a:ext uri="{FF2B5EF4-FFF2-40B4-BE49-F238E27FC236}">
                    <a16:creationId xmlns:a16="http://schemas.microsoft.com/office/drawing/2014/main" id="{C473C25E-F5C8-4E4C-8A59-5AEFE56BBBFD}"/>
                  </a:ext>
                </a:extLst>
              </p:cNvPr>
              <p:cNvGrpSpPr/>
              <p:nvPr/>
            </p:nvGrpSpPr>
            <p:grpSpPr>
              <a:xfrm>
                <a:off x="4149226" y="4863648"/>
                <a:ext cx="3858866" cy="1016166"/>
                <a:chOff x="874457" y="4860615"/>
                <a:chExt cx="3858866" cy="775339"/>
              </a:xfrm>
            </p:grpSpPr>
            <p:sp>
              <p:nvSpPr>
                <p:cNvPr id="161" name="Shape_фон">
                  <a:extLst>
                    <a:ext uri="{FF2B5EF4-FFF2-40B4-BE49-F238E27FC236}">
                      <a16:creationId xmlns:a16="http://schemas.microsoft.com/office/drawing/2014/main" id="{83A54E03-218D-41A2-83BF-DF5141FEAFEE}"/>
                    </a:ext>
                  </a:extLst>
                </p:cNvPr>
                <p:cNvSpPr/>
                <p:nvPr/>
              </p:nvSpPr>
              <p:spPr>
                <a:xfrm>
                  <a:off x="874457" y="4860615"/>
                  <a:ext cx="3858866" cy="775339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62" name="Описание">
                  <a:extLst>
                    <a:ext uri="{FF2B5EF4-FFF2-40B4-BE49-F238E27FC236}">
                      <a16:creationId xmlns:a16="http://schemas.microsoft.com/office/drawing/2014/main" id="{21B9BD08-7B58-4EA2-B743-FAE42A74C0EB}"/>
                    </a:ext>
                  </a:extLst>
                </p:cNvPr>
                <p:cNvSpPr txBox="1"/>
                <p:nvPr/>
              </p:nvSpPr>
              <p:spPr>
                <a:xfrm>
                  <a:off x="1022396" y="5011216"/>
                  <a:ext cx="2553754" cy="56360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VIP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мошенник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Зарплатный клиент</a:t>
                  </a:r>
                </a:p>
              </p:txBody>
            </p:sp>
          </p:grpSp>
          <p:grpSp>
            <p:nvGrpSpPr>
              <p:cNvPr id="178" name="Группа 177">
                <a:extLst>
                  <a:ext uri="{FF2B5EF4-FFF2-40B4-BE49-F238E27FC236}">
                    <a16:creationId xmlns:a16="http://schemas.microsoft.com/office/drawing/2014/main" id="{7C254504-CEBB-445D-80F8-F91719F8BEC5}"/>
                  </a:ext>
                </a:extLst>
              </p:cNvPr>
              <p:cNvGrpSpPr/>
              <p:nvPr/>
            </p:nvGrpSpPr>
            <p:grpSpPr>
              <a:xfrm>
                <a:off x="4134678" y="4610689"/>
                <a:ext cx="1563112" cy="377702"/>
                <a:chOff x="6510195" y="1556711"/>
                <a:chExt cx="3505767" cy="847113"/>
              </a:xfrm>
            </p:grpSpPr>
            <p:sp>
              <p:nvSpPr>
                <p:cNvPr id="179" name="Rounded Rectangle">
                  <a:extLst>
                    <a:ext uri="{FF2B5EF4-FFF2-40B4-BE49-F238E27FC236}">
                      <a16:creationId xmlns:a16="http://schemas.microsoft.com/office/drawing/2014/main" id="{AF5BBBB4-9078-48C2-8AF8-1DEDB87A566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505767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80" name="Motion design">
                  <a:extLst>
                    <a:ext uri="{FF2B5EF4-FFF2-40B4-BE49-F238E27FC236}">
                      <a16:creationId xmlns:a16="http://schemas.microsoft.com/office/drawing/2014/main" id="{FF68C064-2024-4B8A-B82B-F6D1C8D47CDE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Категории</a:t>
                  </a:r>
                </a:p>
              </p:txBody>
            </p:sp>
            <p:sp>
              <p:nvSpPr>
                <p:cNvPr id="181" name="Circle">
                  <a:extLst>
                    <a:ext uri="{FF2B5EF4-FFF2-40B4-BE49-F238E27FC236}">
                      <a16:creationId xmlns:a16="http://schemas.microsoft.com/office/drawing/2014/main" id="{8A443A5E-50B0-43C0-A6BE-5FCCB06F2D05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1" name="Группа 20">
              <a:extLst>
                <a:ext uri="{FF2B5EF4-FFF2-40B4-BE49-F238E27FC236}">
                  <a16:creationId xmlns:a16="http://schemas.microsoft.com/office/drawing/2014/main" id="{7722BA98-B33B-427D-9323-C36E9E511430}"/>
                </a:ext>
              </a:extLst>
            </p:cNvPr>
            <p:cNvGrpSpPr/>
            <p:nvPr/>
          </p:nvGrpSpPr>
          <p:grpSpPr>
            <a:xfrm>
              <a:off x="4078416" y="2990128"/>
              <a:ext cx="1644476" cy="995996"/>
              <a:chOff x="4078416" y="3265857"/>
              <a:chExt cx="1644476" cy="995996"/>
            </a:xfrm>
          </p:grpSpPr>
          <p:grpSp>
            <p:nvGrpSpPr>
              <p:cNvPr id="3" name="Группа 2">
                <a:extLst>
                  <a:ext uri="{FF2B5EF4-FFF2-40B4-BE49-F238E27FC236}">
                    <a16:creationId xmlns:a16="http://schemas.microsoft.com/office/drawing/2014/main" id="{E0B5BAF3-A86C-4B71-8DBF-8C945F883F30}"/>
                  </a:ext>
                </a:extLst>
              </p:cNvPr>
              <p:cNvGrpSpPr/>
              <p:nvPr/>
            </p:nvGrpSpPr>
            <p:grpSpPr>
              <a:xfrm>
                <a:off x="4103519" y="3557839"/>
                <a:ext cx="1594271" cy="704014"/>
                <a:chOff x="874456" y="3607440"/>
                <a:chExt cx="1594271" cy="704014"/>
              </a:xfrm>
            </p:grpSpPr>
            <p:sp>
              <p:nvSpPr>
                <p:cNvPr id="148" name="Shape_фон">
                  <a:extLst>
                    <a:ext uri="{FF2B5EF4-FFF2-40B4-BE49-F238E27FC236}">
                      <a16:creationId xmlns:a16="http://schemas.microsoft.com/office/drawing/2014/main" id="{6A718FE1-84D9-4210-BA5C-3FACF77F754D}"/>
                    </a:ext>
                  </a:extLst>
                </p:cNvPr>
                <p:cNvSpPr/>
                <p:nvPr/>
              </p:nvSpPr>
              <p:spPr>
                <a:xfrm>
                  <a:off x="874456" y="3607440"/>
                  <a:ext cx="1594271" cy="704014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47" name="Описание">
                  <a:extLst>
                    <a:ext uri="{FF2B5EF4-FFF2-40B4-BE49-F238E27FC236}">
                      <a16:creationId xmlns:a16="http://schemas.microsoft.com/office/drawing/2014/main" id="{1781A10E-352C-4036-AA83-32A99D7C5AB7}"/>
                    </a:ext>
                  </a:extLst>
                </p:cNvPr>
                <p:cNvSpPr txBox="1"/>
                <p:nvPr/>
              </p:nvSpPr>
              <p:spPr>
                <a:xfrm>
                  <a:off x="939786" y="3715068"/>
                  <a:ext cx="869430" cy="523220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ФЛ</a:t>
                  </a:r>
                </a:p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lang="ru-RU" sz="1400" dirty="0"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</a:rPr>
                    <a:t>ЮЛ</a:t>
                  </a:r>
                  <a:endParaRPr kumimoji="0" lang="ru-RU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139" name="Группа 138">
                <a:extLst>
                  <a:ext uri="{FF2B5EF4-FFF2-40B4-BE49-F238E27FC236}">
                    <a16:creationId xmlns:a16="http://schemas.microsoft.com/office/drawing/2014/main" id="{9394BA1C-12F0-4D1B-BBE5-AC7CB94791B4}"/>
                  </a:ext>
                </a:extLst>
              </p:cNvPr>
              <p:cNvGrpSpPr/>
              <p:nvPr/>
            </p:nvGrpSpPr>
            <p:grpSpPr>
              <a:xfrm>
                <a:off x="4078416" y="3265857"/>
                <a:ext cx="1644476" cy="377702"/>
                <a:chOff x="6510195" y="1556711"/>
                <a:chExt cx="3688251" cy="847113"/>
              </a:xfrm>
            </p:grpSpPr>
            <p:sp>
              <p:nvSpPr>
                <p:cNvPr id="140" name="Rounded Rectangle">
                  <a:extLst>
                    <a:ext uri="{FF2B5EF4-FFF2-40B4-BE49-F238E27FC236}">
                      <a16:creationId xmlns:a16="http://schemas.microsoft.com/office/drawing/2014/main" id="{C98C4EAE-D6BB-4987-977E-74B3A24C4CD1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41" name="Motion design">
                  <a:extLst>
                    <a:ext uri="{FF2B5EF4-FFF2-40B4-BE49-F238E27FC236}">
                      <a16:creationId xmlns:a16="http://schemas.microsoft.com/office/drawing/2014/main" id="{6892B518-B07D-44AB-83BF-24D3162973F7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Типы</a:t>
                  </a:r>
                </a:p>
              </p:txBody>
            </p:sp>
            <p:sp>
              <p:nvSpPr>
                <p:cNvPr id="142" name="Circle">
                  <a:extLst>
                    <a:ext uri="{FF2B5EF4-FFF2-40B4-BE49-F238E27FC236}">
                      <a16:creationId xmlns:a16="http://schemas.microsoft.com/office/drawing/2014/main" id="{6E018CF0-4506-4883-B236-EE452081DA20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0" name="Группа 19">
              <a:extLst>
                <a:ext uri="{FF2B5EF4-FFF2-40B4-BE49-F238E27FC236}">
                  <a16:creationId xmlns:a16="http://schemas.microsoft.com/office/drawing/2014/main" id="{2F28478E-0756-47E8-9521-4696446FD1F6}"/>
                </a:ext>
              </a:extLst>
            </p:cNvPr>
            <p:cNvGrpSpPr/>
            <p:nvPr/>
          </p:nvGrpSpPr>
          <p:grpSpPr>
            <a:xfrm>
              <a:off x="6388516" y="2990128"/>
              <a:ext cx="1644476" cy="1369861"/>
              <a:chOff x="6388516" y="3254948"/>
              <a:chExt cx="1644476" cy="1369861"/>
            </a:xfrm>
          </p:grpSpPr>
          <p:grpSp>
            <p:nvGrpSpPr>
              <p:cNvPr id="8" name="Группа 7">
                <a:extLst>
                  <a:ext uri="{FF2B5EF4-FFF2-40B4-BE49-F238E27FC236}">
                    <a16:creationId xmlns:a16="http://schemas.microsoft.com/office/drawing/2014/main" id="{2BAA82AD-AAE2-49AB-A9A6-A80137FFA790}"/>
                  </a:ext>
                </a:extLst>
              </p:cNvPr>
              <p:cNvGrpSpPr/>
              <p:nvPr/>
            </p:nvGrpSpPr>
            <p:grpSpPr>
              <a:xfrm>
                <a:off x="6388516" y="3402454"/>
                <a:ext cx="1644476" cy="1222355"/>
                <a:chOff x="2319503" y="3607439"/>
                <a:chExt cx="1644476" cy="1222355"/>
              </a:xfrm>
            </p:grpSpPr>
            <p:sp>
              <p:nvSpPr>
                <p:cNvPr id="154" name="Shape_фон">
                  <a:extLst>
                    <a:ext uri="{FF2B5EF4-FFF2-40B4-BE49-F238E27FC236}">
                      <a16:creationId xmlns:a16="http://schemas.microsoft.com/office/drawing/2014/main" id="{1E2088D7-3656-49C1-9C37-F23A2859254E}"/>
                    </a:ext>
                  </a:extLst>
                </p:cNvPr>
                <p:cNvSpPr/>
                <p:nvPr/>
              </p:nvSpPr>
              <p:spPr>
                <a:xfrm>
                  <a:off x="2319503" y="3607439"/>
                  <a:ext cx="1644476" cy="1222355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55" name="Описание">
                  <a:extLst>
                    <a:ext uri="{FF2B5EF4-FFF2-40B4-BE49-F238E27FC236}">
                      <a16:creationId xmlns:a16="http://schemas.microsoft.com/office/drawing/2014/main" id="{6BE55895-57F8-43B9-8675-461DF63EFEB9}"/>
                    </a:ext>
                  </a:extLst>
                </p:cNvPr>
                <p:cNvSpPr txBox="1"/>
                <p:nvPr/>
              </p:nvSpPr>
              <p:spPr>
                <a:xfrm>
                  <a:off x="2381135" y="3832820"/>
                  <a:ext cx="1557944" cy="95410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Кли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роспек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Аг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14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Сотрудник</a:t>
                  </a:r>
                </a:p>
              </p:txBody>
            </p:sp>
          </p:grpSp>
          <p:grpSp>
            <p:nvGrpSpPr>
              <p:cNvPr id="173" name="Группа 172">
                <a:extLst>
                  <a:ext uri="{FF2B5EF4-FFF2-40B4-BE49-F238E27FC236}">
                    <a16:creationId xmlns:a16="http://schemas.microsoft.com/office/drawing/2014/main" id="{2441178D-6D17-484D-9C4B-02726870BB72}"/>
                  </a:ext>
                </a:extLst>
              </p:cNvPr>
              <p:cNvGrpSpPr/>
              <p:nvPr/>
            </p:nvGrpSpPr>
            <p:grpSpPr>
              <a:xfrm>
                <a:off x="6388516" y="3254948"/>
                <a:ext cx="1644476" cy="377702"/>
                <a:chOff x="6510195" y="1556711"/>
                <a:chExt cx="3688251" cy="847113"/>
              </a:xfrm>
            </p:grpSpPr>
            <p:sp>
              <p:nvSpPr>
                <p:cNvPr id="174" name="Rounded Rectangle">
                  <a:extLst>
                    <a:ext uri="{FF2B5EF4-FFF2-40B4-BE49-F238E27FC236}">
                      <a16:creationId xmlns:a16="http://schemas.microsoft.com/office/drawing/2014/main" id="{B0D562DB-4120-403A-925C-B1071C3D6505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75" name="Motion design">
                  <a:extLst>
                    <a:ext uri="{FF2B5EF4-FFF2-40B4-BE49-F238E27FC236}">
                      <a16:creationId xmlns:a16="http://schemas.microsoft.com/office/drawing/2014/main" id="{5BA0D649-D9C3-4088-BE76-B95E165F645C}"/>
                    </a:ext>
                  </a:extLst>
                </p:cNvPr>
                <p:cNvSpPr txBox="1"/>
                <p:nvPr/>
              </p:nvSpPr>
              <p:spPr>
                <a:xfrm>
                  <a:off x="7434557" y="1724630"/>
                  <a:ext cx="2052006" cy="490101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Роли</a:t>
                  </a:r>
                </a:p>
              </p:txBody>
            </p:sp>
            <p:sp>
              <p:nvSpPr>
                <p:cNvPr id="176" name="Circle">
                  <a:extLst>
                    <a:ext uri="{FF2B5EF4-FFF2-40B4-BE49-F238E27FC236}">
                      <a16:creationId xmlns:a16="http://schemas.microsoft.com/office/drawing/2014/main" id="{49F7892F-01FF-4D57-9887-6EAD037B551A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E8242807-7B4B-4C3D-B888-4B3F798C5000}"/>
              </a:ext>
            </a:extLst>
          </p:cNvPr>
          <p:cNvGrpSpPr/>
          <p:nvPr/>
        </p:nvGrpSpPr>
        <p:grpSpPr>
          <a:xfrm>
            <a:off x="13322364" y="1650455"/>
            <a:ext cx="4842626" cy="4089322"/>
            <a:chOff x="13322364" y="1650455"/>
            <a:chExt cx="4842626" cy="4089322"/>
          </a:xfrm>
        </p:grpSpPr>
        <p:sp>
          <p:nvSpPr>
            <p:cNvPr id="151" name="Shape_фон">
              <a:extLst>
                <a:ext uri="{FF2B5EF4-FFF2-40B4-BE49-F238E27FC236}">
                  <a16:creationId xmlns:a16="http://schemas.microsoft.com/office/drawing/2014/main" id="{97CDAEF1-CDF2-4D3C-BE7B-1577FCA1EDB0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5" name="Группа 24">
              <a:extLst>
                <a:ext uri="{FF2B5EF4-FFF2-40B4-BE49-F238E27FC236}">
                  <a16:creationId xmlns:a16="http://schemas.microsoft.com/office/drawing/2014/main" id="{FBBE6D5A-8815-4021-A850-7BBE632D185B}"/>
                </a:ext>
              </a:extLst>
            </p:cNvPr>
            <p:cNvGrpSpPr/>
            <p:nvPr/>
          </p:nvGrpSpPr>
          <p:grpSpPr>
            <a:xfrm>
              <a:off x="13322364" y="2932470"/>
              <a:ext cx="4842626" cy="2697854"/>
              <a:chOff x="12405115" y="-203962"/>
              <a:chExt cx="2936181" cy="1635763"/>
            </a:xfrm>
          </p:grpSpPr>
          <p:grpSp>
            <p:nvGrpSpPr>
              <p:cNvPr id="113" name="Группа 112">
                <a:extLst>
                  <a:ext uri="{FF2B5EF4-FFF2-40B4-BE49-F238E27FC236}">
                    <a16:creationId xmlns:a16="http://schemas.microsoft.com/office/drawing/2014/main" id="{0F499B31-5EFA-44A9-980B-21854C661A89}"/>
                  </a:ext>
                </a:extLst>
              </p:cNvPr>
              <p:cNvGrpSpPr/>
              <p:nvPr/>
            </p:nvGrpSpPr>
            <p:grpSpPr>
              <a:xfrm>
                <a:off x="13182398" y="1187530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19" name="Rounded Rectangle">
                  <a:extLst>
                    <a:ext uri="{FF2B5EF4-FFF2-40B4-BE49-F238E27FC236}">
                      <a16:creationId xmlns:a16="http://schemas.microsoft.com/office/drawing/2014/main" id="{47AC8A16-1724-480E-9AFA-1C263EBBD64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20" name="Motion design">
                  <a:extLst>
                    <a:ext uri="{FF2B5EF4-FFF2-40B4-BE49-F238E27FC236}">
                      <a16:creationId xmlns:a16="http://schemas.microsoft.com/office/drawing/2014/main" id="{1D6F735E-52CF-46C2-93AD-5C02C58C8C7F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Банковские карты</a:t>
                  </a:r>
                </a:p>
              </p:txBody>
            </p:sp>
            <p:sp>
              <p:nvSpPr>
                <p:cNvPr id="121" name="Circle">
                  <a:extLst>
                    <a:ext uri="{FF2B5EF4-FFF2-40B4-BE49-F238E27FC236}">
                      <a16:creationId xmlns:a16="http://schemas.microsoft.com/office/drawing/2014/main" id="{C7561489-38C2-452F-9576-DD5B9E88A3A9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06" name="Группа 105">
                <a:extLst>
                  <a:ext uri="{FF2B5EF4-FFF2-40B4-BE49-F238E27FC236}">
                    <a16:creationId xmlns:a16="http://schemas.microsoft.com/office/drawing/2014/main" id="{CF62C192-5919-491A-A1F0-C94A8A712B71}"/>
                  </a:ext>
                </a:extLst>
              </p:cNvPr>
              <p:cNvGrpSpPr/>
              <p:nvPr/>
            </p:nvGrpSpPr>
            <p:grpSpPr>
              <a:xfrm>
                <a:off x="12405115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08" name="Rounded Rectangle">
                  <a:extLst>
                    <a:ext uri="{FF2B5EF4-FFF2-40B4-BE49-F238E27FC236}">
                      <a16:creationId xmlns:a16="http://schemas.microsoft.com/office/drawing/2014/main" id="{59F83E22-686F-44D8-8531-D98D72945394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9" name="Motion design">
                  <a:extLst>
                    <a:ext uri="{FF2B5EF4-FFF2-40B4-BE49-F238E27FC236}">
                      <a16:creationId xmlns:a16="http://schemas.microsoft.com/office/drawing/2014/main" id="{549EE0E9-1517-48A8-BD2B-7E694711A707}"/>
                    </a:ext>
                  </a:extLst>
                </p:cNvPr>
                <p:cNvSpPr txBox="1"/>
                <p:nvPr/>
              </p:nvSpPr>
              <p:spPr>
                <a:xfrm>
                  <a:off x="7434554" y="1759087"/>
                  <a:ext cx="3978692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недвижимости</a:t>
                  </a:r>
                </a:p>
              </p:txBody>
            </p:sp>
            <p:sp>
              <p:nvSpPr>
                <p:cNvPr id="110" name="Circle">
                  <a:extLst>
                    <a:ext uri="{FF2B5EF4-FFF2-40B4-BE49-F238E27FC236}">
                      <a16:creationId xmlns:a16="http://schemas.microsoft.com/office/drawing/2014/main" id="{D515B1DB-DB14-49BD-B6C7-83E90CE0C9EA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99" name="Группа 98">
                <a:extLst>
                  <a:ext uri="{FF2B5EF4-FFF2-40B4-BE49-F238E27FC236}">
                    <a16:creationId xmlns:a16="http://schemas.microsoft.com/office/drawing/2014/main" id="{DDE644E9-60F2-441A-8F1A-ACA96340FEAB}"/>
                  </a:ext>
                </a:extLst>
              </p:cNvPr>
              <p:cNvGrpSpPr/>
              <p:nvPr/>
            </p:nvGrpSpPr>
            <p:grpSpPr>
              <a:xfrm>
                <a:off x="12405115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00" name="Rounded Rectangle">
                  <a:extLst>
                    <a:ext uri="{FF2B5EF4-FFF2-40B4-BE49-F238E27FC236}">
                      <a16:creationId xmlns:a16="http://schemas.microsoft.com/office/drawing/2014/main" id="{677731A6-9CA3-4D9F-9681-BD58E9E03BC2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01" name="Motion design">
                  <a:extLst>
                    <a:ext uri="{FF2B5EF4-FFF2-40B4-BE49-F238E27FC236}">
                      <a16:creationId xmlns:a16="http://schemas.microsoft.com/office/drawing/2014/main" id="{81DD7F80-3B73-4075-B946-C5D3D2866FD2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Авто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2" name="Circle">
                  <a:extLst>
                    <a:ext uri="{FF2B5EF4-FFF2-40B4-BE49-F238E27FC236}">
                      <a16:creationId xmlns:a16="http://schemas.microsoft.com/office/drawing/2014/main" id="{123798AB-A02A-4ECA-BC17-AE95DBB5471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93" name="Группа 92">
                <a:extLst>
                  <a:ext uri="{FF2B5EF4-FFF2-40B4-BE49-F238E27FC236}">
                    <a16:creationId xmlns:a16="http://schemas.microsoft.com/office/drawing/2014/main" id="{857A1C30-04A3-476E-AAB9-FAF35989838E}"/>
                  </a:ext>
                </a:extLst>
              </p:cNvPr>
              <p:cNvGrpSpPr/>
              <p:nvPr/>
            </p:nvGrpSpPr>
            <p:grpSpPr>
              <a:xfrm>
                <a:off x="12405115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94" name="Rounded Rectangle">
                  <a:extLst>
                    <a:ext uri="{FF2B5EF4-FFF2-40B4-BE49-F238E27FC236}">
                      <a16:creationId xmlns:a16="http://schemas.microsoft.com/office/drawing/2014/main" id="{7F8220F7-5309-482B-A8CF-BAAF308E1683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5" name="Motion design">
                  <a:extLst>
                    <a:ext uri="{FF2B5EF4-FFF2-40B4-BE49-F238E27FC236}">
                      <a16:creationId xmlns:a16="http://schemas.microsoft.com/office/drawing/2014/main" id="{20911207-02BF-41F9-9F95-30F7FCE68F55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96" name="Circle">
                  <a:extLst>
                    <a:ext uri="{FF2B5EF4-FFF2-40B4-BE49-F238E27FC236}">
                      <a16:creationId xmlns:a16="http://schemas.microsoft.com/office/drawing/2014/main" id="{8E95BC60-7D4C-4B26-86CE-95430E871B9A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88" name="Группа 87">
                <a:extLst>
                  <a:ext uri="{FF2B5EF4-FFF2-40B4-BE49-F238E27FC236}">
                    <a16:creationId xmlns:a16="http://schemas.microsoft.com/office/drawing/2014/main" id="{2FDA0E7B-3251-45C3-9D42-87E753C9EDE6}"/>
                  </a:ext>
                </a:extLst>
              </p:cNvPr>
              <p:cNvGrpSpPr/>
              <p:nvPr/>
            </p:nvGrpSpPr>
            <p:grpSpPr>
              <a:xfrm>
                <a:off x="12405115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89" name="Rounded Rectangle">
                  <a:extLst>
                    <a:ext uri="{FF2B5EF4-FFF2-40B4-BE49-F238E27FC236}">
                      <a16:creationId xmlns:a16="http://schemas.microsoft.com/office/drawing/2014/main" id="{2B72CEC9-4BFE-4CA0-8881-2DBF9CD1610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90" name="Motion design">
                  <a:extLst>
                    <a:ext uri="{FF2B5EF4-FFF2-40B4-BE49-F238E27FC236}">
                      <a16:creationId xmlns:a16="http://schemas.microsoft.com/office/drawing/2014/main" id="{918A080A-4C9C-4BE6-B933-BFB97BF07574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</a:p>
              </p:txBody>
            </p:sp>
            <p:sp>
              <p:nvSpPr>
                <p:cNvPr id="91" name="Circle">
                  <a:extLst>
                    <a:ext uri="{FF2B5EF4-FFF2-40B4-BE49-F238E27FC236}">
                      <a16:creationId xmlns:a16="http://schemas.microsoft.com/office/drawing/2014/main" id="{6E28C3A4-B78A-4D88-88F3-9018944E0E35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63" name="Группа 62">
                <a:extLst>
                  <a:ext uri="{FF2B5EF4-FFF2-40B4-BE49-F238E27FC236}">
                    <a16:creationId xmlns:a16="http://schemas.microsoft.com/office/drawing/2014/main" id="{80694265-4438-440C-B2A1-0A8F4CDC5689}"/>
                  </a:ext>
                </a:extLst>
              </p:cNvPr>
              <p:cNvGrpSpPr/>
              <p:nvPr/>
            </p:nvGrpSpPr>
            <p:grpSpPr>
              <a:xfrm>
                <a:off x="12405115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64" name="Rounded Rectangle">
                  <a:extLst>
                    <a:ext uri="{FF2B5EF4-FFF2-40B4-BE49-F238E27FC236}">
                      <a16:creationId xmlns:a16="http://schemas.microsoft.com/office/drawing/2014/main" id="{1D8AA45F-F83B-460A-A51D-ACA74B503CF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65" name="Motion design">
                  <a:extLst>
                    <a:ext uri="{FF2B5EF4-FFF2-40B4-BE49-F238E27FC236}">
                      <a16:creationId xmlns:a16="http://schemas.microsoft.com/office/drawing/2014/main" id="{CB391021-EED4-4816-8CA4-1744001A92B7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66" name="Circle">
                  <a:extLst>
                    <a:ext uri="{FF2B5EF4-FFF2-40B4-BE49-F238E27FC236}">
                      <a16:creationId xmlns:a16="http://schemas.microsoft.com/office/drawing/2014/main" id="{F939FEE7-51EB-4A59-A795-81DA2DCEFC6B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80" name="Группа 79">
                <a:extLst>
                  <a:ext uri="{FF2B5EF4-FFF2-40B4-BE49-F238E27FC236}">
                    <a16:creationId xmlns:a16="http://schemas.microsoft.com/office/drawing/2014/main" id="{5AE8242B-E1C8-4687-A53F-F2506C4C2E76}"/>
                  </a:ext>
                </a:extLst>
              </p:cNvPr>
              <p:cNvGrpSpPr/>
              <p:nvPr/>
            </p:nvGrpSpPr>
            <p:grpSpPr>
              <a:xfrm>
                <a:off x="13884628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81" name="Rounded Rectangle">
                  <a:extLst>
                    <a:ext uri="{FF2B5EF4-FFF2-40B4-BE49-F238E27FC236}">
                      <a16:creationId xmlns:a16="http://schemas.microsoft.com/office/drawing/2014/main" id="{95C5784D-C6E5-4E6D-97FC-A6D2333B7596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82" name="Motion design">
                  <a:extLst>
                    <a:ext uri="{FF2B5EF4-FFF2-40B4-BE49-F238E27FC236}">
                      <a16:creationId xmlns:a16="http://schemas.microsoft.com/office/drawing/2014/main" id="{4ECF07A4-367A-41DB-ACB9-FD28EE0C96B0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Услуги</a:t>
                  </a:r>
                </a:p>
              </p:txBody>
            </p:sp>
            <p:sp>
              <p:nvSpPr>
                <p:cNvPr id="83" name="Circle">
                  <a:extLst>
                    <a:ext uri="{FF2B5EF4-FFF2-40B4-BE49-F238E27FC236}">
                      <a16:creationId xmlns:a16="http://schemas.microsoft.com/office/drawing/2014/main" id="{8ACDDBAD-39E9-4121-B6CA-DC744D0E961F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85" name="Группа 84">
                <a:extLst>
                  <a:ext uri="{FF2B5EF4-FFF2-40B4-BE49-F238E27FC236}">
                    <a16:creationId xmlns:a16="http://schemas.microsoft.com/office/drawing/2014/main" id="{2AABF7FA-3A36-4EF8-9C82-DFE99B2D97AD}"/>
                  </a:ext>
                </a:extLst>
              </p:cNvPr>
              <p:cNvGrpSpPr/>
              <p:nvPr/>
            </p:nvGrpSpPr>
            <p:grpSpPr>
              <a:xfrm>
                <a:off x="13884628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86" name="Rounded Rectangle">
                  <a:extLst>
                    <a:ext uri="{FF2B5EF4-FFF2-40B4-BE49-F238E27FC236}">
                      <a16:creationId xmlns:a16="http://schemas.microsoft.com/office/drawing/2014/main" id="{B13BB5A6-9554-4C02-8A1A-54BED55401D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87" name="Motion design">
                  <a:extLst>
                    <a:ext uri="{FF2B5EF4-FFF2-40B4-BE49-F238E27FC236}">
                      <a16:creationId xmlns:a16="http://schemas.microsoft.com/office/drawing/2014/main" id="{B7C05720-43C4-4841-888C-0C4BAA00D2EA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07" name="Circle">
                  <a:extLst>
                    <a:ext uri="{FF2B5EF4-FFF2-40B4-BE49-F238E27FC236}">
                      <a16:creationId xmlns:a16="http://schemas.microsoft.com/office/drawing/2014/main" id="{532BD052-0514-4A1A-BA7C-CA0AA232638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14" name="Группа 113">
                <a:extLst>
                  <a:ext uri="{FF2B5EF4-FFF2-40B4-BE49-F238E27FC236}">
                    <a16:creationId xmlns:a16="http://schemas.microsoft.com/office/drawing/2014/main" id="{54302FBA-7474-4CEF-B90D-579AB5D89720}"/>
                  </a:ext>
                </a:extLst>
              </p:cNvPr>
              <p:cNvGrpSpPr/>
              <p:nvPr/>
            </p:nvGrpSpPr>
            <p:grpSpPr>
              <a:xfrm>
                <a:off x="13884628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15" name="Rounded Rectangle">
                  <a:extLst>
                    <a:ext uri="{FF2B5EF4-FFF2-40B4-BE49-F238E27FC236}">
                      <a16:creationId xmlns:a16="http://schemas.microsoft.com/office/drawing/2014/main" id="{2958163B-BAE8-486F-A193-339367185D79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16" name="Motion design">
                  <a:extLst>
                    <a:ext uri="{FF2B5EF4-FFF2-40B4-BE49-F238E27FC236}">
                      <a16:creationId xmlns:a16="http://schemas.microsoft.com/office/drawing/2014/main" id="{91D56A07-8378-4E46-A365-9FAFE1BCB2A0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Договор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17" name="Circle">
                  <a:extLst>
                    <a:ext uri="{FF2B5EF4-FFF2-40B4-BE49-F238E27FC236}">
                      <a16:creationId xmlns:a16="http://schemas.microsoft.com/office/drawing/2014/main" id="{C4B7A7CF-12ED-4FD6-92A4-C6FC8A41AA89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28" name="Группа 127">
                <a:extLst>
                  <a:ext uri="{FF2B5EF4-FFF2-40B4-BE49-F238E27FC236}">
                    <a16:creationId xmlns:a16="http://schemas.microsoft.com/office/drawing/2014/main" id="{291A7FA5-8DAC-4456-AF24-CFFC0BA93808}"/>
                  </a:ext>
                </a:extLst>
              </p:cNvPr>
              <p:cNvGrpSpPr/>
              <p:nvPr/>
            </p:nvGrpSpPr>
            <p:grpSpPr>
              <a:xfrm>
                <a:off x="13884628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29" name="Rounded Rectangle">
                  <a:extLst>
                    <a:ext uri="{FF2B5EF4-FFF2-40B4-BE49-F238E27FC236}">
                      <a16:creationId xmlns:a16="http://schemas.microsoft.com/office/drawing/2014/main" id="{F5E3B376-DFCD-4BFF-988A-26DC87969D42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30" name="Motion design">
                  <a:extLst>
                    <a:ext uri="{FF2B5EF4-FFF2-40B4-BE49-F238E27FC236}">
                      <a16:creationId xmlns:a16="http://schemas.microsoft.com/office/drawing/2014/main" id="{D237B6FB-5498-40BD-AFCD-0B6D7133F0C8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олис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131" name="Circle">
                  <a:extLst>
                    <a:ext uri="{FF2B5EF4-FFF2-40B4-BE49-F238E27FC236}">
                      <a16:creationId xmlns:a16="http://schemas.microsoft.com/office/drawing/2014/main" id="{BB7247F2-3EB8-4B5F-A968-5641D6AFAF9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133" name="Группа 132">
                <a:extLst>
                  <a:ext uri="{FF2B5EF4-FFF2-40B4-BE49-F238E27FC236}">
                    <a16:creationId xmlns:a16="http://schemas.microsoft.com/office/drawing/2014/main" id="{45C08BBD-9833-4738-905D-7A205F413150}"/>
                  </a:ext>
                </a:extLst>
              </p:cNvPr>
              <p:cNvGrpSpPr/>
              <p:nvPr/>
            </p:nvGrpSpPr>
            <p:grpSpPr>
              <a:xfrm>
                <a:off x="13884628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134" name="Rounded Rectangle">
                  <a:extLst>
                    <a:ext uri="{FF2B5EF4-FFF2-40B4-BE49-F238E27FC236}">
                      <a16:creationId xmlns:a16="http://schemas.microsoft.com/office/drawing/2014/main" id="{3FEAE634-6487-4F21-9038-B0F137ED5B07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136" name="Motion design">
                  <a:extLst>
                    <a:ext uri="{FF2B5EF4-FFF2-40B4-BE49-F238E27FC236}">
                      <a16:creationId xmlns:a16="http://schemas.microsoft.com/office/drawing/2014/main" id="{C2EC499B-ACF2-4D56-A6EB-922E783B6649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им-карты</a:t>
                  </a:r>
                </a:p>
              </p:txBody>
            </p:sp>
            <p:sp>
              <p:nvSpPr>
                <p:cNvPr id="137" name="Circle">
                  <a:extLst>
                    <a:ext uri="{FF2B5EF4-FFF2-40B4-BE49-F238E27FC236}">
                      <a16:creationId xmlns:a16="http://schemas.microsoft.com/office/drawing/2014/main" id="{3C31BEF8-252B-4974-BE35-DAAD2773E693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25C7B1C2-3B40-43CA-8B43-8897B76775CA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153" name="Shape_фон">
                <a:extLst>
                  <a:ext uri="{FF2B5EF4-FFF2-40B4-BE49-F238E27FC236}">
                    <a16:creationId xmlns:a16="http://schemas.microsoft.com/office/drawing/2014/main" id="{5BF3B914-48D9-4D36-9BC3-4BE53A94F4CC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6" name="Motion design">
                <a:extLst>
                  <a:ext uri="{FF2B5EF4-FFF2-40B4-BE49-F238E27FC236}">
                    <a16:creationId xmlns:a16="http://schemas.microsoft.com/office/drawing/2014/main" id="{59A87EBE-F7F1-4297-A8EC-D3B444AF6F98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</p:grpSp>
      <p:sp>
        <p:nvSpPr>
          <p:cNvPr id="123" name="Заголовок">
            <a:extLst>
              <a:ext uri="{FF2B5EF4-FFF2-40B4-BE49-F238E27FC236}">
                <a16:creationId xmlns:a16="http://schemas.microsoft.com/office/drawing/2014/main" id="{0468A098-6E60-493D-85F6-85DCC5BA0D73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24" name="Таймлайн">
            <a:extLst>
              <a:ext uri="{FF2B5EF4-FFF2-40B4-BE49-F238E27FC236}">
                <a16:creationId xmlns:a16="http://schemas.microsoft.com/office/drawing/2014/main" id="{228164B8-5AB1-424A-8693-33912895485C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25" name="Прямая соединительная линия 124">
            <a:extLst>
              <a:ext uri="{FF2B5EF4-FFF2-40B4-BE49-F238E27FC236}">
                <a16:creationId xmlns:a16="http://schemas.microsoft.com/office/drawing/2014/main" id="{29E0C493-1A45-4182-B79B-262AE62EDE4E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Прямая соединительная линия 125">
            <a:extLst>
              <a:ext uri="{FF2B5EF4-FFF2-40B4-BE49-F238E27FC236}">
                <a16:creationId xmlns:a16="http://schemas.microsoft.com/office/drawing/2014/main" id="{04CCCA95-B6C5-480F-80CC-6FD901B525B5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единительная линия 126">
            <a:extLst>
              <a:ext uri="{FF2B5EF4-FFF2-40B4-BE49-F238E27FC236}">
                <a16:creationId xmlns:a16="http://schemas.microsoft.com/office/drawing/2014/main" id="{C3C4B999-3706-48EC-BF09-40DDD33C4092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5" name="Прямая соединительная линия 144">
            <a:extLst>
              <a:ext uri="{FF2B5EF4-FFF2-40B4-BE49-F238E27FC236}">
                <a16:creationId xmlns:a16="http://schemas.microsoft.com/office/drawing/2014/main" id="{12CA3B86-7B4B-4634-BC14-B3BE5037B7A7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46" name="Group 2048">
            <a:extLst>
              <a:ext uri="{FF2B5EF4-FFF2-40B4-BE49-F238E27FC236}">
                <a16:creationId xmlns:a16="http://schemas.microsoft.com/office/drawing/2014/main" id="{2307C8F6-538A-42EA-A0B7-46CD70CDC8C8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150" name="Freeform 23">
              <a:extLst>
                <a:ext uri="{FF2B5EF4-FFF2-40B4-BE49-F238E27FC236}">
                  <a16:creationId xmlns:a16="http://schemas.microsoft.com/office/drawing/2014/main" id="{499D863D-40A6-40AF-BB5B-BCE7BC4B5E2A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157" name="Freeform 24">
              <a:extLst>
                <a:ext uri="{FF2B5EF4-FFF2-40B4-BE49-F238E27FC236}">
                  <a16:creationId xmlns:a16="http://schemas.microsoft.com/office/drawing/2014/main" id="{279954F0-FAE0-43DC-BE07-6E23BD3084E0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32234068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Rounded Rectangle">
            <a:extLst>
              <a:ext uri="{FF2B5EF4-FFF2-40B4-BE49-F238E27FC236}">
                <a16:creationId xmlns:a16="http://schemas.microsoft.com/office/drawing/2014/main" id="{75C4B8B7-39AB-4368-8122-63D178E95590}"/>
              </a:ext>
            </a:extLst>
          </p:cNvPr>
          <p:cNvSpPr/>
          <p:nvPr/>
        </p:nvSpPr>
        <p:spPr>
          <a:xfrm>
            <a:off x="0" y="2671899"/>
            <a:ext cx="12192000" cy="3135279"/>
          </a:xfrm>
          <a:prstGeom prst="roundRect">
            <a:avLst>
              <a:gd name="adj" fmla="val 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marL="0" marR="0" lvl="0" indent="0" algn="ctr" defTabSz="309563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itchFamily="2" charset="0"/>
              <a:ea typeface="Roboto" pitchFamily="2" charset="0"/>
              <a:cs typeface="Poppins Bold"/>
              <a:sym typeface="Poppins Bold"/>
            </a:endParaRPr>
          </a:p>
        </p:txBody>
      </p:sp>
      <p:grpSp>
        <p:nvGrpSpPr>
          <p:cNvPr id="9" name="CDIConf_Black">
            <a:extLst>
              <a:ext uri="{FF2B5EF4-FFF2-40B4-BE49-F238E27FC236}">
                <a16:creationId xmlns:a16="http://schemas.microsoft.com/office/drawing/2014/main" id="{8AA539BF-D8EE-46DA-BB66-D4DC81CF3608}"/>
              </a:ext>
            </a:extLst>
          </p:cNvPr>
          <p:cNvGrpSpPr/>
          <p:nvPr/>
        </p:nvGrpSpPr>
        <p:grpSpPr>
          <a:xfrm>
            <a:off x="9291334" y="6062823"/>
            <a:ext cx="2270483" cy="296171"/>
            <a:chOff x="7406975" y="5855999"/>
            <a:chExt cx="2270483" cy="296171"/>
          </a:xfrm>
        </p:grpSpPr>
        <p:sp>
          <p:nvSpPr>
            <p:cNvPr id="10" name="Полилиния: фигура 9">
              <a:extLst>
                <a:ext uri="{FF2B5EF4-FFF2-40B4-BE49-F238E27FC236}">
                  <a16:creationId xmlns:a16="http://schemas.microsoft.com/office/drawing/2014/main" id="{6FBE00D2-9EA3-43F4-B0AD-2A25849E51CA}"/>
                </a:ext>
              </a:extLst>
            </p:cNvPr>
            <p:cNvSpPr/>
            <p:nvPr/>
          </p:nvSpPr>
          <p:spPr>
            <a:xfrm>
              <a:off x="7406975" y="5878280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896 h 273890"/>
                <a:gd name="connsiteX8" fmla="*/ 0 w 1394458"/>
                <a:gd name="connsiteY8" fmla="*/ 154577 h 273890"/>
                <a:gd name="connsiteX9" fmla="*/ 0 w 1394458"/>
                <a:gd name="connsiteY9" fmla="*/ 133560 h 273890"/>
                <a:gd name="connsiteX10" fmla="*/ 7121 w 1394458"/>
                <a:gd name="connsiteY10" fmla="*/ 84236 h 273890"/>
                <a:gd name="connsiteX11" fmla="*/ 27962 w 1394458"/>
                <a:gd name="connsiteY11" fmla="*/ 46552 h 273890"/>
                <a:gd name="connsiteX12" fmla="*/ 60438 w 1394458"/>
                <a:gd name="connsiteY12" fmla="*/ 22408 h 273890"/>
                <a:gd name="connsiteX13" fmla="*/ 103336 w 1394458"/>
                <a:gd name="connsiteY13" fmla="*/ 14071 h 273890"/>
                <a:gd name="connsiteX14" fmla="*/ 154397 w 1394458"/>
                <a:gd name="connsiteY14" fmla="*/ 25185 h 273890"/>
                <a:gd name="connsiteX15" fmla="*/ 186702 w 1394458"/>
                <a:gd name="connsiteY15" fmla="*/ 55924 h 273890"/>
                <a:gd name="connsiteX16" fmla="*/ 200943 w 1394458"/>
                <a:gd name="connsiteY16" fmla="*/ 100905 h 273890"/>
                <a:gd name="connsiteX17" fmla="*/ 157524 w 1394458"/>
                <a:gd name="connsiteY17" fmla="*/ 100905 h 273890"/>
                <a:gd name="connsiteX18" fmla="*/ 149883 w 1394458"/>
                <a:gd name="connsiteY18" fmla="*/ 72943 h 273890"/>
                <a:gd name="connsiteX19" fmla="*/ 132865 w 1394458"/>
                <a:gd name="connsiteY19" fmla="*/ 55229 h 273890"/>
                <a:gd name="connsiteX20" fmla="*/ 103341 w 1394458"/>
                <a:gd name="connsiteY20" fmla="*/ 48974 h 273890"/>
                <a:gd name="connsiteX21" fmla="*/ 77291 w 1394458"/>
                <a:gd name="connsiteY21" fmla="*/ 54533 h 273890"/>
                <a:gd name="connsiteX22" fmla="*/ 58706 w 1394458"/>
                <a:gd name="connsiteY22" fmla="*/ 70861 h 273890"/>
                <a:gd name="connsiteX23" fmla="*/ 47417 w 1394458"/>
                <a:gd name="connsiteY23" fmla="*/ 97432 h 273890"/>
                <a:gd name="connsiteX24" fmla="*/ 43769 w 1394458"/>
                <a:gd name="connsiteY24" fmla="*/ 133210 h 273890"/>
                <a:gd name="connsiteX25" fmla="*/ 43769 w 1394458"/>
                <a:gd name="connsiteY25" fmla="*/ 154572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896 h 273890"/>
                <a:gd name="connsiteX75" fmla="*/ 654075 w 1394458"/>
                <a:gd name="connsiteY75" fmla="*/ 154572 h 273890"/>
                <a:gd name="connsiteX76" fmla="*/ 654075 w 1394458"/>
                <a:gd name="connsiteY76" fmla="*/ 133555 h 273890"/>
                <a:gd name="connsiteX77" fmla="*/ 661196 w 1394458"/>
                <a:gd name="connsiteY77" fmla="*/ 84231 h 273890"/>
                <a:gd name="connsiteX78" fmla="*/ 682037 w 1394458"/>
                <a:gd name="connsiteY78" fmla="*/ 46547 h 273890"/>
                <a:gd name="connsiteX79" fmla="*/ 714513 w 1394458"/>
                <a:gd name="connsiteY79" fmla="*/ 22403 h 273890"/>
                <a:gd name="connsiteX80" fmla="*/ 757411 w 1394458"/>
                <a:gd name="connsiteY80" fmla="*/ 14066 h 273890"/>
                <a:gd name="connsiteX81" fmla="*/ 808472 w 1394458"/>
                <a:gd name="connsiteY81" fmla="*/ 25180 h 273890"/>
                <a:gd name="connsiteX82" fmla="*/ 840777 w 1394458"/>
                <a:gd name="connsiteY82" fmla="*/ 55919 h 273890"/>
                <a:gd name="connsiteX83" fmla="*/ 855018 w 1394458"/>
                <a:gd name="connsiteY83" fmla="*/ 100900 h 273890"/>
                <a:gd name="connsiteX84" fmla="*/ 811599 w 1394458"/>
                <a:gd name="connsiteY84" fmla="*/ 100900 h 273890"/>
                <a:gd name="connsiteX85" fmla="*/ 803958 w 1394458"/>
                <a:gd name="connsiteY85" fmla="*/ 72938 h 273890"/>
                <a:gd name="connsiteX86" fmla="*/ 786940 w 1394458"/>
                <a:gd name="connsiteY86" fmla="*/ 55224 h 273890"/>
                <a:gd name="connsiteX87" fmla="*/ 757416 w 1394458"/>
                <a:gd name="connsiteY87" fmla="*/ 48969 h 273890"/>
                <a:gd name="connsiteX88" fmla="*/ 731366 w 1394458"/>
                <a:gd name="connsiteY88" fmla="*/ 54528 h 273890"/>
                <a:gd name="connsiteX89" fmla="*/ 712781 w 1394458"/>
                <a:gd name="connsiteY89" fmla="*/ 70856 h 273890"/>
                <a:gd name="connsiteX90" fmla="*/ 701492 w 1394458"/>
                <a:gd name="connsiteY90" fmla="*/ 97427 h 273890"/>
                <a:gd name="connsiteX91" fmla="*/ 697844 w 1394458"/>
                <a:gd name="connsiteY91" fmla="*/ 133205 h 273890"/>
                <a:gd name="connsiteX92" fmla="*/ 697844 w 1394458"/>
                <a:gd name="connsiteY92" fmla="*/ 154567 h 273890"/>
                <a:gd name="connsiteX93" fmla="*/ 701142 w 1394458"/>
                <a:gd name="connsiteY93" fmla="*/ 189299 h 273890"/>
                <a:gd name="connsiteX94" fmla="*/ 711565 w 1394458"/>
                <a:gd name="connsiteY94" fmla="*/ 215870 h 273890"/>
                <a:gd name="connsiteX95" fmla="*/ 729629 w 1394458"/>
                <a:gd name="connsiteY95" fmla="*/ 233064 h 273890"/>
                <a:gd name="connsiteX96" fmla="*/ 755855 w 1394458"/>
                <a:gd name="connsiteY96" fmla="*/ 239144 h 273890"/>
                <a:gd name="connsiteX97" fmla="*/ 785904 w 1394458"/>
                <a:gd name="connsiteY97" fmla="*/ 233239 h 273890"/>
                <a:gd name="connsiteX98" fmla="*/ 803443 w 1394458"/>
                <a:gd name="connsiteY98" fmla="*/ 216046 h 273890"/>
                <a:gd name="connsiteX99" fmla="*/ 811434 w 1394458"/>
                <a:gd name="connsiteY99" fmla="*/ 188084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30 h 273890"/>
                <a:gd name="connsiteX112" fmla="*/ 1033899 w 1394458"/>
                <a:gd name="connsiteY112" fmla="*/ 246624 h 273890"/>
                <a:gd name="connsiteX113" fmla="*/ 1006458 w 1394458"/>
                <a:gd name="connsiteY113" fmla="*/ 266770 h 273890"/>
                <a:gd name="connsiteX114" fmla="*/ 969814 w 1394458"/>
                <a:gd name="connsiteY114" fmla="*/ 273891 h 273890"/>
                <a:gd name="connsiteX115" fmla="*/ 932820 w 1394458"/>
                <a:gd name="connsiteY115" fmla="*/ 266770 h 273890"/>
                <a:gd name="connsiteX116" fmla="*/ 905378 w 1394458"/>
                <a:gd name="connsiteY116" fmla="*/ 246624 h 273890"/>
                <a:gd name="connsiteX117" fmla="*/ 888185 w 1394458"/>
                <a:gd name="connsiteY117" fmla="*/ 216230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8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13 h 273890"/>
                <a:gd name="connsiteX154" fmla="*/ 1247357 w 1394458"/>
                <a:gd name="connsiteY154" fmla="*/ 270413 h 273890"/>
                <a:gd name="connsiteX155" fmla="*/ 1205329 w 1394458"/>
                <a:gd name="connsiteY155" fmla="*/ 270413 h 273890"/>
                <a:gd name="connsiteX156" fmla="*/ 1205329 w 1394458"/>
                <a:gd name="connsiteY156" fmla="*/ 148837 h 273890"/>
                <a:gd name="connsiteX157" fmla="*/ 1201336 w 1394458"/>
                <a:gd name="connsiteY157" fmla="*/ 127476 h 273890"/>
                <a:gd name="connsiteX158" fmla="*/ 1190047 w 1394458"/>
                <a:gd name="connsiteY158" fmla="*/ 116187 h 273890"/>
                <a:gd name="connsiteX159" fmla="*/ 1171813 w 1394458"/>
                <a:gd name="connsiteY159" fmla="*/ 112714 h 273890"/>
                <a:gd name="connsiteX160" fmla="*/ 1152533 w 1394458"/>
                <a:gd name="connsiteY160" fmla="*/ 117228 h 273890"/>
                <a:gd name="connsiteX161" fmla="*/ 1138116 w 1394458"/>
                <a:gd name="connsiteY161" fmla="*/ 129557 h 273890"/>
                <a:gd name="connsiteX162" fmla="*/ 1129259 w 1394458"/>
                <a:gd name="connsiteY162" fmla="*/ 147621 h 273890"/>
                <a:gd name="connsiteX163" fmla="*/ 1126132 w 1394458"/>
                <a:gd name="connsiteY163" fmla="*/ 169504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72 h 273890"/>
                <a:gd name="connsiteX175" fmla="*/ 1360596 w 1394458"/>
                <a:gd name="connsiteY175" fmla="*/ 37519 h 273890"/>
                <a:gd name="connsiteX176" fmla="*/ 1350178 w 1394458"/>
                <a:gd name="connsiteY176" fmla="*/ 47767 h 273890"/>
                <a:gd name="connsiteX177" fmla="*/ 1346706 w 1394458"/>
                <a:gd name="connsiteY177" fmla="*/ 64441 h 273890"/>
                <a:gd name="connsiteX178" fmla="*/ 1346706 w 1394458"/>
                <a:gd name="connsiteY178" fmla="*/ 270423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2"/>
                    <a:pt x="11697" y="218604"/>
                    <a:pt x="6950" y="203896"/>
                  </a:cubicBezTo>
                  <a:cubicBezTo>
                    <a:pt x="2315" y="189192"/>
                    <a:pt x="0" y="172753"/>
                    <a:pt x="0" y="154577"/>
                  </a:cubicBezTo>
                  <a:lnTo>
                    <a:pt x="0" y="133560"/>
                  </a:lnTo>
                  <a:cubicBezTo>
                    <a:pt x="0" y="115379"/>
                    <a:pt x="2374" y="98940"/>
                    <a:pt x="7121" y="84236"/>
                  </a:cubicBezTo>
                  <a:cubicBezTo>
                    <a:pt x="11984" y="69533"/>
                    <a:pt x="18930" y="56970"/>
                    <a:pt x="27962" y="46552"/>
                  </a:cubicBezTo>
                  <a:cubicBezTo>
                    <a:pt x="36994" y="36017"/>
                    <a:pt x="47816" y="27967"/>
                    <a:pt x="60438" y="22408"/>
                  </a:cubicBezTo>
                  <a:cubicBezTo>
                    <a:pt x="73171" y="16848"/>
                    <a:pt x="87471" y="14071"/>
                    <a:pt x="103336" y="14071"/>
                  </a:cubicBezTo>
                  <a:cubicBezTo>
                    <a:pt x="123482" y="14071"/>
                    <a:pt x="140506" y="17777"/>
                    <a:pt x="154397" y="25185"/>
                  </a:cubicBezTo>
                  <a:cubicBezTo>
                    <a:pt x="168293" y="32597"/>
                    <a:pt x="179056" y="42840"/>
                    <a:pt x="186702" y="55924"/>
                  </a:cubicBezTo>
                  <a:cubicBezTo>
                    <a:pt x="194460" y="69008"/>
                    <a:pt x="199207" y="84003"/>
                    <a:pt x="200943" y="100905"/>
                  </a:cubicBezTo>
                  <a:lnTo>
                    <a:pt x="157524" y="100905"/>
                  </a:lnTo>
                  <a:cubicBezTo>
                    <a:pt x="156367" y="90019"/>
                    <a:pt x="153818" y="80700"/>
                    <a:pt x="149883" y="72943"/>
                  </a:cubicBezTo>
                  <a:cubicBezTo>
                    <a:pt x="146065" y="65185"/>
                    <a:pt x="140389" y="59280"/>
                    <a:pt x="132865" y="55229"/>
                  </a:cubicBezTo>
                  <a:cubicBezTo>
                    <a:pt x="125340" y="51060"/>
                    <a:pt x="115496" y="48974"/>
                    <a:pt x="103341" y="48974"/>
                  </a:cubicBezTo>
                  <a:cubicBezTo>
                    <a:pt x="93385" y="48974"/>
                    <a:pt x="84698" y="50827"/>
                    <a:pt x="77291" y="54533"/>
                  </a:cubicBezTo>
                  <a:cubicBezTo>
                    <a:pt x="69878" y="58239"/>
                    <a:pt x="63687" y="63682"/>
                    <a:pt x="58706" y="70861"/>
                  </a:cubicBezTo>
                  <a:cubicBezTo>
                    <a:pt x="53730" y="78040"/>
                    <a:pt x="49966" y="86897"/>
                    <a:pt x="47417" y="97432"/>
                  </a:cubicBezTo>
                  <a:cubicBezTo>
                    <a:pt x="44985" y="107850"/>
                    <a:pt x="43769" y="119776"/>
                    <a:pt x="43769" y="133210"/>
                  </a:cubicBezTo>
                  <a:lnTo>
                    <a:pt x="43769" y="154572"/>
                  </a:lnTo>
                  <a:cubicBezTo>
                    <a:pt x="43769" y="167305"/>
                    <a:pt x="44869" y="178886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9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21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2"/>
                    <a:pt x="665768" y="218604"/>
                    <a:pt x="661021" y="203896"/>
                  </a:cubicBezTo>
                  <a:cubicBezTo>
                    <a:pt x="656390" y="189192"/>
                    <a:pt x="654075" y="172748"/>
                    <a:pt x="654075" y="154572"/>
                  </a:cubicBezTo>
                  <a:lnTo>
                    <a:pt x="654075" y="133555"/>
                  </a:lnTo>
                  <a:cubicBezTo>
                    <a:pt x="654075" y="115374"/>
                    <a:pt x="656449" y="98935"/>
                    <a:pt x="661196" y="84231"/>
                  </a:cubicBezTo>
                  <a:cubicBezTo>
                    <a:pt x="666059" y="69528"/>
                    <a:pt x="673005" y="56965"/>
                    <a:pt x="682037" y="46547"/>
                  </a:cubicBezTo>
                  <a:cubicBezTo>
                    <a:pt x="691069" y="36012"/>
                    <a:pt x="701891" y="27962"/>
                    <a:pt x="714513" y="22403"/>
                  </a:cubicBezTo>
                  <a:cubicBezTo>
                    <a:pt x="727246" y="16843"/>
                    <a:pt x="741546" y="14066"/>
                    <a:pt x="757411" y="14066"/>
                  </a:cubicBezTo>
                  <a:cubicBezTo>
                    <a:pt x="777557" y="14066"/>
                    <a:pt x="794581" y="17772"/>
                    <a:pt x="808472" y="25180"/>
                  </a:cubicBezTo>
                  <a:cubicBezTo>
                    <a:pt x="822368" y="32592"/>
                    <a:pt x="833131" y="42836"/>
                    <a:pt x="840777" y="55919"/>
                  </a:cubicBezTo>
                  <a:cubicBezTo>
                    <a:pt x="848535" y="69003"/>
                    <a:pt x="853282" y="83998"/>
                    <a:pt x="855018" y="100900"/>
                  </a:cubicBezTo>
                  <a:lnTo>
                    <a:pt x="811599" y="100900"/>
                  </a:lnTo>
                  <a:cubicBezTo>
                    <a:pt x="810442" y="90015"/>
                    <a:pt x="807893" y="80695"/>
                    <a:pt x="803958" y="72938"/>
                  </a:cubicBezTo>
                  <a:cubicBezTo>
                    <a:pt x="800140" y="65180"/>
                    <a:pt x="794464" y="59275"/>
                    <a:pt x="786940" y="55224"/>
                  </a:cubicBezTo>
                  <a:cubicBezTo>
                    <a:pt x="779415" y="51055"/>
                    <a:pt x="769571" y="48969"/>
                    <a:pt x="757416" y="48969"/>
                  </a:cubicBezTo>
                  <a:cubicBezTo>
                    <a:pt x="747460" y="48969"/>
                    <a:pt x="738773" y="50822"/>
                    <a:pt x="731366" y="54528"/>
                  </a:cubicBezTo>
                  <a:cubicBezTo>
                    <a:pt x="723953" y="58234"/>
                    <a:pt x="717762" y="63677"/>
                    <a:pt x="712781" y="70856"/>
                  </a:cubicBezTo>
                  <a:cubicBezTo>
                    <a:pt x="707801" y="78035"/>
                    <a:pt x="704041" y="86892"/>
                    <a:pt x="701492" y="97427"/>
                  </a:cubicBezTo>
                  <a:cubicBezTo>
                    <a:pt x="699060" y="107845"/>
                    <a:pt x="697844" y="119771"/>
                    <a:pt x="697844" y="133205"/>
                  </a:cubicBezTo>
                  <a:lnTo>
                    <a:pt x="697844" y="154567"/>
                  </a:lnTo>
                  <a:cubicBezTo>
                    <a:pt x="697844" y="167300"/>
                    <a:pt x="698944" y="178881"/>
                    <a:pt x="701142" y="189299"/>
                  </a:cubicBezTo>
                  <a:cubicBezTo>
                    <a:pt x="703457" y="199606"/>
                    <a:pt x="706930" y="208463"/>
                    <a:pt x="711565" y="215870"/>
                  </a:cubicBezTo>
                  <a:cubicBezTo>
                    <a:pt x="716312" y="223283"/>
                    <a:pt x="722334" y="229012"/>
                    <a:pt x="729629" y="233064"/>
                  </a:cubicBezTo>
                  <a:cubicBezTo>
                    <a:pt x="736925" y="237116"/>
                    <a:pt x="745665" y="239144"/>
                    <a:pt x="755855" y="239144"/>
                  </a:cubicBezTo>
                  <a:cubicBezTo>
                    <a:pt x="768243" y="239144"/>
                    <a:pt x="778258" y="237174"/>
                    <a:pt x="785904" y="233239"/>
                  </a:cubicBezTo>
                  <a:cubicBezTo>
                    <a:pt x="793661" y="229304"/>
                    <a:pt x="799508" y="223570"/>
                    <a:pt x="803443" y="216046"/>
                  </a:cubicBezTo>
                  <a:cubicBezTo>
                    <a:pt x="807494" y="208405"/>
                    <a:pt x="810159" y="199085"/>
                    <a:pt x="811434" y="188084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9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30"/>
                  </a:cubicBezTo>
                  <a:cubicBezTo>
                    <a:pt x="1047153" y="227806"/>
                    <a:pt x="1041424" y="237938"/>
                    <a:pt x="1033899" y="246624"/>
                  </a:cubicBezTo>
                  <a:cubicBezTo>
                    <a:pt x="1026375" y="255194"/>
                    <a:pt x="1017226" y="261906"/>
                    <a:pt x="1006458" y="266770"/>
                  </a:cubicBezTo>
                  <a:cubicBezTo>
                    <a:pt x="995689" y="271517"/>
                    <a:pt x="983476" y="273891"/>
                    <a:pt x="969814" y="273891"/>
                  </a:cubicBezTo>
                  <a:cubicBezTo>
                    <a:pt x="956151" y="273891"/>
                    <a:pt x="943705" y="271517"/>
                    <a:pt x="932820" y="266770"/>
                  </a:cubicBezTo>
                  <a:cubicBezTo>
                    <a:pt x="922051" y="261906"/>
                    <a:pt x="912907" y="255189"/>
                    <a:pt x="905378" y="246624"/>
                  </a:cubicBezTo>
                  <a:cubicBezTo>
                    <a:pt x="897854" y="237942"/>
                    <a:pt x="892119" y="227811"/>
                    <a:pt x="888185" y="216230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8"/>
                    <a:pt x="969469" y="112378"/>
                  </a:cubicBezTo>
                  <a:cubicBezTo>
                    <a:pt x="961594" y="112378"/>
                    <a:pt x="954765" y="114056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41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1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13"/>
                  </a:cubicBezTo>
                  <a:lnTo>
                    <a:pt x="1247357" y="270413"/>
                  </a:lnTo>
                  <a:lnTo>
                    <a:pt x="1205329" y="270413"/>
                  </a:lnTo>
                  <a:lnTo>
                    <a:pt x="1205329" y="148837"/>
                  </a:lnTo>
                  <a:cubicBezTo>
                    <a:pt x="1205329" y="139805"/>
                    <a:pt x="1203996" y="132685"/>
                    <a:pt x="1201336" y="127476"/>
                  </a:cubicBezTo>
                  <a:cubicBezTo>
                    <a:pt x="1198787" y="122150"/>
                    <a:pt x="1195028" y="118385"/>
                    <a:pt x="1190047" y="116187"/>
                  </a:cubicBezTo>
                  <a:cubicBezTo>
                    <a:pt x="1185183" y="113872"/>
                    <a:pt x="1179104" y="112714"/>
                    <a:pt x="1171813" y="112714"/>
                  </a:cubicBezTo>
                  <a:cubicBezTo>
                    <a:pt x="1164522" y="112714"/>
                    <a:pt x="1158209" y="114217"/>
                    <a:pt x="1152533" y="117228"/>
                  </a:cubicBezTo>
                  <a:cubicBezTo>
                    <a:pt x="1146861" y="120238"/>
                    <a:pt x="1142056" y="124348"/>
                    <a:pt x="1138116" y="129557"/>
                  </a:cubicBezTo>
                  <a:cubicBezTo>
                    <a:pt x="1134293" y="134766"/>
                    <a:pt x="1131341" y="140788"/>
                    <a:pt x="1129259" y="147621"/>
                  </a:cubicBezTo>
                  <a:cubicBezTo>
                    <a:pt x="1127178" y="154450"/>
                    <a:pt x="1126132" y="161746"/>
                    <a:pt x="1126132" y="169504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72"/>
                    <a:pt x="1377095" y="33872"/>
                  </a:cubicBezTo>
                  <a:cubicBezTo>
                    <a:pt x="1370728" y="33872"/>
                    <a:pt x="1365227" y="35088"/>
                    <a:pt x="1360596" y="37519"/>
                  </a:cubicBezTo>
                  <a:cubicBezTo>
                    <a:pt x="1356083" y="39835"/>
                    <a:pt x="1352605" y="43249"/>
                    <a:pt x="1350178" y="47767"/>
                  </a:cubicBezTo>
                  <a:cubicBezTo>
                    <a:pt x="1347863" y="52286"/>
                    <a:pt x="1346706" y="57840"/>
                    <a:pt x="1346706" y="64441"/>
                  </a:cubicBezTo>
                  <a:lnTo>
                    <a:pt x="1346706" y="270423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Полилиния: фигура 10">
              <a:extLst>
                <a:ext uri="{FF2B5EF4-FFF2-40B4-BE49-F238E27FC236}">
                  <a16:creationId xmlns:a16="http://schemas.microsoft.com/office/drawing/2014/main" id="{7BE280F6-5DBB-46C7-B68D-4AAD9D1C0576}"/>
                </a:ext>
              </a:extLst>
            </p:cNvPr>
            <p:cNvSpPr/>
            <p:nvPr/>
          </p:nvSpPr>
          <p:spPr>
            <a:xfrm>
              <a:off x="7406975" y="5855999"/>
              <a:ext cx="1394458" cy="273890"/>
            </a:xfrm>
            <a:custGeom>
              <a:avLst/>
              <a:gdLst>
                <a:gd name="connsiteX0" fmla="*/ 157354 w 1394458"/>
                <a:gd name="connsiteY0" fmla="*/ 188093 h 273890"/>
                <a:gd name="connsiteX1" fmla="*/ 200773 w 1394458"/>
                <a:gd name="connsiteY1" fmla="*/ 188093 h 273890"/>
                <a:gd name="connsiteX2" fmla="*/ 186877 w 1394458"/>
                <a:gd name="connsiteY2" fmla="*/ 232383 h 273890"/>
                <a:gd name="connsiteX3" fmla="*/ 153706 w 1394458"/>
                <a:gd name="connsiteY3" fmla="*/ 262777 h 273890"/>
                <a:gd name="connsiteX4" fmla="*/ 101775 w 1394458"/>
                <a:gd name="connsiteY4" fmla="*/ 273891 h 273890"/>
                <a:gd name="connsiteX5" fmla="*/ 59572 w 1394458"/>
                <a:gd name="connsiteY5" fmla="*/ 265554 h 273890"/>
                <a:gd name="connsiteX6" fmla="*/ 27442 w 1394458"/>
                <a:gd name="connsiteY6" fmla="*/ 241585 h 273890"/>
                <a:gd name="connsiteX7" fmla="*/ 6950 w 1394458"/>
                <a:gd name="connsiteY7" fmla="*/ 203901 h 273890"/>
                <a:gd name="connsiteX8" fmla="*/ 0 w 1394458"/>
                <a:gd name="connsiteY8" fmla="*/ 154572 h 273890"/>
                <a:gd name="connsiteX9" fmla="*/ 0 w 1394458"/>
                <a:gd name="connsiteY9" fmla="*/ 133555 h 273890"/>
                <a:gd name="connsiteX10" fmla="*/ 7121 w 1394458"/>
                <a:gd name="connsiteY10" fmla="*/ 84231 h 273890"/>
                <a:gd name="connsiteX11" fmla="*/ 27962 w 1394458"/>
                <a:gd name="connsiteY11" fmla="*/ 46542 h 273890"/>
                <a:gd name="connsiteX12" fmla="*/ 60438 w 1394458"/>
                <a:gd name="connsiteY12" fmla="*/ 22403 h 273890"/>
                <a:gd name="connsiteX13" fmla="*/ 103336 w 1394458"/>
                <a:gd name="connsiteY13" fmla="*/ 14066 h 273890"/>
                <a:gd name="connsiteX14" fmla="*/ 154397 w 1394458"/>
                <a:gd name="connsiteY14" fmla="*/ 25180 h 273890"/>
                <a:gd name="connsiteX15" fmla="*/ 186702 w 1394458"/>
                <a:gd name="connsiteY15" fmla="*/ 55919 h 273890"/>
                <a:gd name="connsiteX16" fmla="*/ 200943 w 1394458"/>
                <a:gd name="connsiteY16" fmla="*/ 100900 h 273890"/>
                <a:gd name="connsiteX17" fmla="*/ 157524 w 1394458"/>
                <a:gd name="connsiteY17" fmla="*/ 100900 h 273890"/>
                <a:gd name="connsiteX18" fmla="*/ 149883 w 1394458"/>
                <a:gd name="connsiteY18" fmla="*/ 72938 h 273890"/>
                <a:gd name="connsiteX19" fmla="*/ 132865 w 1394458"/>
                <a:gd name="connsiteY19" fmla="*/ 55224 h 273890"/>
                <a:gd name="connsiteX20" fmla="*/ 103341 w 1394458"/>
                <a:gd name="connsiteY20" fmla="*/ 48969 h 273890"/>
                <a:gd name="connsiteX21" fmla="*/ 77291 w 1394458"/>
                <a:gd name="connsiteY21" fmla="*/ 54528 h 273890"/>
                <a:gd name="connsiteX22" fmla="*/ 58706 w 1394458"/>
                <a:gd name="connsiteY22" fmla="*/ 70856 h 273890"/>
                <a:gd name="connsiteX23" fmla="*/ 47417 w 1394458"/>
                <a:gd name="connsiteY23" fmla="*/ 97427 h 273890"/>
                <a:gd name="connsiteX24" fmla="*/ 43769 w 1394458"/>
                <a:gd name="connsiteY24" fmla="*/ 133205 h 273890"/>
                <a:gd name="connsiteX25" fmla="*/ 43769 w 1394458"/>
                <a:gd name="connsiteY25" fmla="*/ 154567 h 273890"/>
                <a:gd name="connsiteX26" fmla="*/ 47067 w 1394458"/>
                <a:gd name="connsiteY26" fmla="*/ 189304 h 273890"/>
                <a:gd name="connsiteX27" fmla="*/ 57490 w 1394458"/>
                <a:gd name="connsiteY27" fmla="*/ 215875 h 273890"/>
                <a:gd name="connsiteX28" fmla="*/ 75550 w 1394458"/>
                <a:gd name="connsiteY28" fmla="*/ 233069 h 273890"/>
                <a:gd name="connsiteX29" fmla="*/ 101775 w 1394458"/>
                <a:gd name="connsiteY29" fmla="*/ 239149 h 273890"/>
                <a:gd name="connsiteX30" fmla="*/ 131824 w 1394458"/>
                <a:gd name="connsiteY30" fmla="*/ 233244 h 273890"/>
                <a:gd name="connsiteX31" fmla="*/ 149363 w 1394458"/>
                <a:gd name="connsiteY31" fmla="*/ 216050 h 273890"/>
                <a:gd name="connsiteX32" fmla="*/ 157354 w 1394458"/>
                <a:gd name="connsiteY32" fmla="*/ 188088 h 273890"/>
                <a:gd name="connsiteX33" fmla="*/ 313837 w 1394458"/>
                <a:gd name="connsiteY33" fmla="*/ 270418 h 273890"/>
                <a:gd name="connsiteX34" fmla="*/ 259825 w 1394458"/>
                <a:gd name="connsiteY34" fmla="*/ 270418 h 273890"/>
                <a:gd name="connsiteX35" fmla="*/ 260170 w 1394458"/>
                <a:gd name="connsiteY35" fmla="*/ 235856 h 273890"/>
                <a:gd name="connsiteX36" fmla="*/ 313837 w 1394458"/>
                <a:gd name="connsiteY36" fmla="*/ 235856 h 273890"/>
                <a:gd name="connsiteX37" fmla="*/ 353088 w 1394458"/>
                <a:gd name="connsiteY37" fmla="*/ 225608 h 273890"/>
                <a:gd name="connsiteX38" fmla="*/ 377057 w 1394458"/>
                <a:gd name="connsiteY38" fmla="*/ 196255 h 273890"/>
                <a:gd name="connsiteX39" fmla="*/ 385218 w 1394458"/>
                <a:gd name="connsiteY39" fmla="*/ 150754 h 273890"/>
                <a:gd name="connsiteX40" fmla="*/ 385218 w 1394458"/>
                <a:gd name="connsiteY40" fmla="*/ 137033 h 273890"/>
                <a:gd name="connsiteX41" fmla="*/ 380530 w 1394458"/>
                <a:gd name="connsiteY41" fmla="*/ 100734 h 273890"/>
                <a:gd name="connsiteX42" fmla="*/ 366984 w 1394458"/>
                <a:gd name="connsiteY42" fmla="*/ 74163 h 273890"/>
                <a:gd name="connsiteX43" fmla="*/ 345102 w 1394458"/>
                <a:gd name="connsiteY43" fmla="*/ 57840 h 273890"/>
                <a:gd name="connsiteX44" fmla="*/ 315403 w 1394458"/>
                <a:gd name="connsiteY44" fmla="*/ 52281 h 273890"/>
                <a:gd name="connsiteX45" fmla="*/ 258784 w 1394458"/>
                <a:gd name="connsiteY45" fmla="*/ 52281 h 273890"/>
                <a:gd name="connsiteX46" fmla="*/ 258784 w 1394458"/>
                <a:gd name="connsiteY46" fmla="*/ 17544 h 273890"/>
                <a:gd name="connsiteX47" fmla="*/ 315403 w 1394458"/>
                <a:gd name="connsiteY47" fmla="*/ 17544 h 273890"/>
                <a:gd name="connsiteX48" fmla="*/ 361429 w 1394458"/>
                <a:gd name="connsiteY48" fmla="*/ 26055 h 273890"/>
                <a:gd name="connsiteX49" fmla="*/ 397383 w 1394458"/>
                <a:gd name="connsiteY49" fmla="*/ 50195 h 273890"/>
                <a:gd name="connsiteX50" fmla="*/ 420826 w 1394458"/>
                <a:gd name="connsiteY50" fmla="*/ 88054 h 273890"/>
                <a:gd name="connsiteX51" fmla="*/ 428988 w 1394458"/>
                <a:gd name="connsiteY51" fmla="*/ 137378 h 273890"/>
                <a:gd name="connsiteX52" fmla="*/ 428988 w 1394458"/>
                <a:gd name="connsiteY52" fmla="*/ 150754 h 273890"/>
                <a:gd name="connsiteX53" fmla="*/ 420826 w 1394458"/>
                <a:gd name="connsiteY53" fmla="*/ 200078 h 273890"/>
                <a:gd name="connsiteX54" fmla="*/ 397383 w 1394458"/>
                <a:gd name="connsiteY54" fmla="*/ 237938 h 273890"/>
                <a:gd name="connsiteX55" fmla="*/ 360909 w 1394458"/>
                <a:gd name="connsiteY55" fmla="*/ 262077 h 273890"/>
                <a:gd name="connsiteX56" fmla="*/ 313842 w 1394458"/>
                <a:gd name="connsiteY56" fmla="*/ 270413 h 273890"/>
                <a:gd name="connsiteX57" fmla="*/ 283964 w 1394458"/>
                <a:gd name="connsiteY57" fmla="*/ 17544 h 273890"/>
                <a:gd name="connsiteX58" fmla="*/ 283964 w 1394458"/>
                <a:gd name="connsiteY58" fmla="*/ 270418 h 273890"/>
                <a:gd name="connsiteX59" fmla="*/ 240369 w 1394458"/>
                <a:gd name="connsiteY59" fmla="*/ 270418 h 273890"/>
                <a:gd name="connsiteX60" fmla="*/ 240369 w 1394458"/>
                <a:gd name="connsiteY60" fmla="*/ 17544 h 273890"/>
                <a:gd name="connsiteX61" fmla="*/ 283964 w 1394458"/>
                <a:gd name="connsiteY61" fmla="*/ 17544 h 273890"/>
                <a:gd name="connsiteX62" fmla="*/ 519299 w 1394458"/>
                <a:gd name="connsiteY62" fmla="*/ 17544 h 273890"/>
                <a:gd name="connsiteX63" fmla="*/ 519299 w 1394458"/>
                <a:gd name="connsiteY63" fmla="*/ 270418 h 273890"/>
                <a:gd name="connsiteX64" fmla="*/ 475705 w 1394458"/>
                <a:gd name="connsiteY64" fmla="*/ 270418 h 273890"/>
                <a:gd name="connsiteX65" fmla="*/ 475705 w 1394458"/>
                <a:gd name="connsiteY65" fmla="*/ 17544 h 273890"/>
                <a:gd name="connsiteX66" fmla="*/ 519299 w 1394458"/>
                <a:gd name="connsiteY66" fmla="*/ 17544 h 273890"/>
                <a:gd name="connsiteX67" fmla="*/ 811424 w 1394458"/>
                <a:gd name="connsiteY67" fmla="*/ 188093 h 273890"/>
                <a:gd name="connsiteX68" fmla="*/ 854843 w 1394458"/>
                <a:gd name="connsiteY68" fmla="*/ 188093 h 273890"/>
                <a:gd name="connsiteX69" fmla="*/ 840947 w 1394458"/>
                <a:gd name="connsiteY69" fmla="*/ 232383 h 273890"/>
                <a:gd name="connsiteX70" fmla="*/ 807776 w 1394458"/>
                <a:gd name="connsiteY70" fmla="*/ 262777 h 273890"/>
                <a:gd name="connsiteX71" fmla="*/ 755845 w 1394458"/>
                <a:gd name="connsiteY71" fmla="*/ 273891 h 273890"/>
                <a:gd name="connsiteX72" fmla="*/ 713642 w 1394458"/>
                <a:gd name="connsiteY72" fmla="*/ 265554 h 273890"/>
                <a:gd name="connsiteX73" fmla="*/ 681512 w 1394458"/>
                <a:gd name="connsiteY73" fmla="*/ 241585 h 273890"/>
                <a:gd name="connsiteX74" fmla="*/ 661021 w 1394458"/>
                <a:gd name="connsiteY74" fmla="*/ 203901 h 273890"/>
                <a:gd name="connsiteX75" fmla="*/ 654075 w 1394458"/>
                <a:gd name="connsiteY75" fmla="*/ 154577 h 273890"/>
                <a:gd name="connsiteX76" fmla="*/ 654075 w 1394458"/>
                <a:gd name="connsiteY76" fmla="*/ 133560 h 273890"/>
                <a:gd name="connsiteX77" fmla="*/ 661196 w 1394458"/>
                <a:gd name="connsiteY77" fmla="*/ 84236 h 273890"/>
                <a:gd name="connsiteX78" fmla="*/ 682037 w 1394458"/>
                <a:gd name="connsiteY78" fmla="*/ 46547 h 273890"/>
                <a:gd name="connsiteX79" fmla="*/ 714513 w 1394458"/>
                <a:gd name="connsiteY79" fmla="*/ 22408 h 273890"/>
                <a:gd name="connsiteX80" fmla="*/ 757411 w 1394458"/>
                <a:gd name="connsiteY80" fmla="*/ 14071 h 273890"/>
                <a:gd name="connsiteX81" fmla="*/ 808472 w 1394458"/>
                <a:gd name="connsiteY81" fmla="*/ 25185 h 273890"/>
                <a:gd name="connsiteX82" fmla="*/ 840777 w 1394458"/>
                <a:gd name="connsiteY82" fmla="*/ 55924 h 273890"/>
                <a:gd name="connsiteX83" fmla="*/ 855018 w 1394458"/>
                <a:gd name="connsiteY83" fmla="*/ 100905 h 273890"/>
                <a:gd name="connsiteX84" fmla="*/ 811599 w 1394458"/>
                <a:gd name="connsiteY84" fmla="*/ 100905 h 273890"/>
                <a:gd name="connsiteX85" fmla="*/ 803958 w 1394458"/>
                <a:gd name="connsiteY85" fmla="*/ 72943 h 273890"/>
                <a:gd name="connsiteX86" fmla="*/ 786940 w 1394458"/>
                <a:gd name="connsiteY86" fmla="*/ 55229 h 273890"/>
                <a:gd name="connsiteX87" fmla="*/ 757416 w 1394458"/>
                <a:gd name="connsiteY87" fmla="*/ 48974 h 273890"/>
                <a:gd name="connsiteX88" fmla="*/ 731366 w 1394458"/>
                <a:gd name="connsiteY88" fmla="*/ 54533 h 273890"/>
                <a:gd name="connsiteX89" fmla="*/ 712781 w 1394458"/>
                <a:gd name="connsiteY89" fmla="*/ 70861 h 273890"/>
                <a:gd name="connsiteX90" fmla="*/ 701492 w 1394458"/>
                <a:gd name="connsiteY90" fmla="*/ 97432 h 273890"/>
                <a:gd name="connsiteX91" fmla="*/ 697844 w 1394458"/>
                <a:gd name="connsiteY91" fmla="*/ 133210 h 273890"/>
                <a:gd name="connsiteX92" fmla="*/ 697844 w 1394458"/>
                <a:gd name="connsiteY92" fmla="*/ 154572 h 273890"/>
                <a:gd name="connsiteX93" fmla="*/ 701142 w 1394458"/>
                <a:gd name="connsiteY93" fmla="*/ 189309 h 273890"/>
                <a:gd name="connsiteX94" fmla="*/ 711565 w 1394458"/>
                <a:gd name="connsiteY94" fmla="*/ 215880 h 273890"/>
                <a:gd name="connsiteX95" fmla="*/ 729629 w 1394458"/>
                <a:gd name="connsiteY95" fmla="*/ 233074 h 273890"/>
                <a:gd name="connsiteX96" fmla="*/ 755855 w 1394458"/>
                <a:gd name="connsiteY96" fmla="*/ 239154 h 273890"/>
                <a:gd name="connsiteX97" fmla="*/ 785904 w 1394458"/>
                <a:gd name="connsiteY97" fmla="*/ 233249 h 273890"/>
                <a:gd name="connsiteX98" fmla="*/ 803443 w 1394458"/>
                <a:gd name="connsiteY98" fmla="*/ 216055 h 273890"/>
                <a:gd name="connsiteX99" fmla="*/ 811434 w 1394458"/>
                <a:gd name="connsiteY99" fmla="*/ 188093 h 273890"/>
                <a:gd name="connsiteX100" fmla="*/ 882285 w 1394458"/>
                <a:gd name="connsiteY100" fmla="*/ 178541 h 273890"/>
                <a:gd name="connsiteX101" fmla="*/ 882285 w 1394458"/>
                <a:gd name="connsiteY101" fmla="*/ 174548 h 273890"/>
                <a:gd name="connsiteX102" fmla="*/ 888190 w 1394458"/>
                <a:gd name="connsiteY102" fmla="*/ 136858 h 273890"/>
                <a:gd name="connsiteX103" fmla="*/ 905208 w 1394458"/>
                <a:gd name="connsiteY103" fmla="*/ 106464 h 273890"/>
                <a:gd name="connsiteX104" fmla="*/ 932650 w 1394458"/>
                <a:gd name="connsiteY104" fmla="*/ 86318 h 273890"/>
                <a:gd name="connsiteX105" fmla="*/ 969469 w 1394458"/>
                <a:gd name="connsiteY105" fmla="*/ 79022 h 273890"/>
                <a:gd name="connsiteX106" fmla="*/ 1006288 w 1394458"/>
                <a:gd name="connsiteY106" fmla="*/ 86318 h 273890"/>
                <a:gd name="connsiteX107" fmla="*/ 1033899 w 1394458"/>
                <a:gd name="connsiteY107" fmla="*/ 106464 h 273890"/>
                <a:gd name="connsiteX108" fmla="*/ 1051093 w 1394458"/>
                <a:gd name="connsiteY108" fmla="*/ 136858 h 273890"/>
                <a:gd name="connsiteX109" fmla="*/ 1056998 w 1394458"/>
                <a:gd name="connsiteY109" fmla="*/ 174548 h 273890"/>
                <a:gd name="connsiteX110" fmla="*/ 1056998 w 1394458"/>
                <a:gd name="connsiteY110" fmla="*/ 178541 h 273890"/>
                <a:gd name="connsiteX111" fmla="*/ 1051093 w 1394458"/>
                <a:gd name="connsiteY111" fmla="*/ 216226 h 273890"/>
                <a:gd name="connsiteX112" fmla="*/ 1033899 w 1394458"/>
                <a:gd name="connsiteY112" fmla="*/ 246619 h 273890"/>
                <a:gd name="connsiteX113" fmla="*/ 1006458 w 1394458"/>
                <a:gd name="connsiteY113" fmla="*/ 266765 h 273890"/>
                <a:gd name="connsiteX114" fmla="*/ 969814 w 1394458"/>
                <a:gd name="connsiteY114" fmla="*/ 273886 h 273890"/>
                <a:gd name="connsiteX115" fmla="*/ 932820 w 1394458"/>
                <a:gd name="connsiteY115" fmla="*/ 266765 h 273890"/>
                <a:gd name="connsiteX116" fmla="*/ 905378 w 1394458"/>
                <a:gd name="connsiteY116" fmla="*/ 246619 h 273890"/>
                <a:gd name="connsiteX117" fmla="*/ 888185 w 1394458"/>
                <a:gd name="connsiteY117" fmla="*/ 216226 h 273890"/>
                <a:gd name="connsiteX118" fmla="*/ 882280 w 1394458"/>
                <a:gd name="connsiteY118" fmla="*/ 178541 h 273890"/>
                <a:gd name="connsiteX119" fmla="*/ 924143 w 1394458"/>
                <a:gd name="connsiteY119" fmla="*/ 174548 h 273890"/>
                <a:gd name="connsiteX120" fmla="*/ 924143 w 1394458"/>
                <a:gd name="connsiteY120" fmla="*/ 178541 h 273890"/>
                <a:gd name="connsiteX121" fmla="*/ 926750 w 1394458"/>
                <a:gd name="connsiteY121" fmla="*/ 202510 h 273890"/>
                <a:gd name="connsiteX122" fmla="*/ 934911 w 1394458"/>
                <a:gd name="connsiteY122" fmla="*/ 222310 h 273890"/>
                <a:gd name="connsiteX123" fmla="*/ 949152 w 1394458"/>
                <a:gd name="connsiteY123" fmla="*/ 235681 h 273890"/>
                <a:gd name="connsiteX124" fmla="*/ 969819 w 1394458"/>
                <a:gd name="connsiteY124" fmla="*/ 240545 h 273890"/>
                <a:gd name="connsiteX125" fmla="*/ 989965 w 1394458"/>
                <a:gd name="connsiteY125" fmla="*/ 235681 h 273890"/>
                <a:gd name="connsiteX126" fmla="*/ 1004206 w 1394458"/>
                <a:gd name="connsiteY126" fmla="*/ 222310 h 273890"/>
                <a:gd name="connsiteX127" fmla="*/ 1012367 w 1394458"/>
                <a:gd name="connsiteY127" fmla="*/ 202510 h 273890"/>
                <a:gd name="connsiteX128" fmla="*/ 1015145 w 1394458"/>
                <a:gd name="connsiteY128" fmla="*/ 178541 h 273890"/>
                <a:gd name="connsiteX129" fmla="*/ 1015145 w 1394458"/>
                <a:gd name="connsiteY129" fmla="*/ 174548 h 273890"/>
                <a:gd name="connsiteX130" fmla="*/ 1012367 w 1394458"/>
                <a:gd name="connsiteY130" fmla="*/ 150929 h 273890"/>
                <a:gd name="connsiteX131" fmla="*/ 1004031 w 1394458"/>
                <a:gd name="connsiteY131" fmla="*/ 130958 h 273890"/>
                <a:gd name="connsiteX132" fmla="*/ 989790 w 1394458"/>
                <a:gd name="connsiteY132" fmla="*/ 117412 h 273890"/>
                <a:gd name="connsiteX133" fmla="*/ 969469 w 1394458"/>
                <a:gd name="connsiteY133" fmla="*/ 112373 h 273890"/>
                <a:gd name="connsiteX134" fmla="*/ 948977 w 1394458"/>
                <a:gd name="connsiteY134" fmla="*/ 117412 h 273890"/>
                <a:gd name="connsiteX135" fmla="*/ 934911 w 1394458"/>
                <a:gd name="connsiteY135" fmla="*/ 130958 h 273890"/>
                <a:gd name="connsiteX136" fmla="*/ 926750 w 1394458"/>
                <a:gd name="connsiteY136" fmla="*/ 150929 h 273890"/>
                <a:gd name="connsiteX137" fmla="*/ 924143 w 1394458"/>
                <a:gd name="connsiteY137" fmla="*/ 174548 h 273890"/>
                <a:gd name="connsiteX138" fmla="*/ 1133598 w 1394458"/>
                <a:gd name="connsiteY138" fmla="*/ 122617 h 273890"/>
                <a:gd name="connsiteX139" fmla="*/ 1133598 w 1394458"/>
                <a:gd name="connsiteY139" fmla="*/ 270418 h 273890"/>
                <a:gd name="connsiteX140" fmla="*/ 1091745 w 1394458"/>
                <a:gd name="connsiteY140" fmla="*/ 270418 h 273890"/>
                <a:gd name="connsiteX141" fmla="*/ 1091745 w 1394458"/>
                <a:gd name="connsiteY141" fmla="*/ 82495 h 273890"/>
                <a:gd name="connsiteX142" fmla="*/ 1131171 w 1394458"/>
                <a:gd name="connsiteY142" fmla="*/ 82495 h 273890"/>
                <a:gd name="connsiteX143" fmla="*/ 1133603 w 1394458"/>
                <a:gd name="connsiteY143" fmla="*/ 122617 h 273890"/>
                <a:gd name="connsiteX144" fmla="*/ 1126132 w 1394458"/>
                <a:gd name="connsiteY144" fmla="*/ 169509 h 273890"/>
                <a:gd name="connsiteX145" fmla="*/ 1112586 w 1394458"/>
                <a:gd name="connsiteY145" fmla="*/ 169334 h 273890"/>
                <a:gd name="connsiteX146" fmla="*/ 1118145 w 1394458"/>
                <a:gd name="connsiteY146" fmla="*/ 132690 h 273890"/>
                <a:gd name="connsiteX147" fmla="*/ 1133428 w 1394458"/>
                <a:gd name="connsiteY147" fmla="*/ 104032 h 273890"/>
                <a:gd name="connsiteX148" fmla="*/ 1157046 w 1394458"/>
                <a:gd name="connsiteY148" fmla="*/ 85623 h 273890"/>
                <a:gd name="connsiteX149" fmla="*/ 1187615 w 1394458"/>
                <a:gd name="connsiteY149" fmla="*/ 79022 h 273890"/>
                <a:gd name="connsiteX150" fmla="*/ 1212105 w 1394458"/>
                <a:gd name="connsiteY150" fmla="*/ 82840 h 273890"/>
                <a:gd name="connsiteX151" fmla="*/ 1231034 w 1394458"/>
                <a:gd name="connsiteY151" fmla="*/ 94825 h 273890"/>
                <a:gd name="connsiteX152" fmla="*/ 1243189 w 1394458"/>
                <a:gd name="connsiteY152" fmla="*/ 116532 h 273890"/>
                <a:gd name="connsiteX153" fmla="*/ 1247357 w 1394458"/>
                <a:gd name="connsiteY153" fmla="*/ 149008 h 273890"/>
                <a:gd name="connsiteX154" fmla="*/ 1247357 w 1394458"/>
                <a:gd name="connsiteY154" fmla="*/ 270408 h 273890"/>
                <a:gd name="connsiteX155" fmla="*/ 1205329 w 1394458"/>
                <a:gd name="connsiteY155" fmla="*/ 270408 h 273890"/>
                <a:gd name="connsiteX156" fmla="*/ 1205329 w 1394458"/>
                <a:gd name="connsiteY156" fmla="*/ 148833 h 273890"/>
                <a:gd name="connsiteX157" fmla="*/ 1201336 w 1394458"/>
                <a:gd name="connsiteY157" fmla="*/ 127471 h 273890"/>
                <a:gd name="connsiteX158" fmla="*/ 1190047 w 1394458"/>
                <a:gd name="connsiteY158" fmla="*/ 116182 h 273890"/>
                <a:gd name="connsiteX159" fmla="*/ 1171813 w 1394458"/>
                <a:gd name="connsiteY159" fmla="*/ 112709 h 273890"/>
                <a:gd name="connsiteX160" fmla="*/ 1152533 w 1394458"/>
                <a:gd name="connsiteY160" fmla="*/ 117223 h 273890"/>
                <a:gd name="connsiteX161" fmla="*/ 1138116 w 1394458"/>
                <a:gd name="connsiteY161" fmla="*/ 129552 h 273890"/>
                <a:gd name="connsiteX162" fmla="*/ 1129259 w 1394458"/>
                <a:gd name="connsiteY162" fmla="*/ 147617 h 273890"/>
                <a:gd name="connsiteX163" fmla="*/ 1126132 w 1394458"/>
                <a:gd name="connsiteY163" fmla="*/ 169499 h 273890"/>
                <a:gd name="connsiteX164" fmla="*/ 1346701 w 1394458"/>
                <a:gd name="connsiteY164" fmla="*/ 270418 h 273890"/>
                <a:gd name="connsiteX165" fmla="*/ 1304843 w 1394458"/>
                <a:gd name="connsiteY165" fmla="*/ 270418 h 273890"/>
                <a:gd name="connsiteX166" fmla="*/ 1304843 w 1394458"/>
                <a:gd name="connsiteY166" fmla="*/ 64436 h 273890"/>
                <a:gd name="connsiteX167" fmla="*/ 1312659 w 1394458"/>
                <a:gd name="connsiteY167" fmla="*/ 29178 h 273890"/>
                <a:gd name="connsiteX168" fmla="*/ 1335412 w 1394458"/>
                <a:gd name="connsiteY168" fmla="*/ 7471 h 273890"/>
                <a:gd name="connsiteX169" fmla="*/ 1370319 w 1394458"/>
                <a:gd name="connsiteY169" fmla="*/ 0 h 273890"/>
                <a:gd name="connsiteX170" fmla="*/ 1382649 w 1394458"/>
                <a:gd name="connsiteY170" fmla="*/ 871 h 273890"/>
                <a:gd name="connsiteX171" fmla="*/ 1394458 w 1394458"/>
                <a:gd name="connsiteY171" fmla="*/ 3127 h 273890"/>
                <a:gd name="connsiteX172" fmla="*/ 1393418 w 1394458"/>
                <a:gd name="connsiteY172" fmla="*/ 35433 h 273890"/>
                <a:gd name="connsiteX173" fmla="*/ 1385776 w 1394458"/>
                <a:gd name="connsiteY173" fmla="*/ 34217 h 273890"/>
                <a:gd name="connsiteX174" fmla="*/ 1377095 w 1394458"/>
                <a:gd name="connsiteY174" fmla="*/ 33867 h 273890"/>
                <a:gd name="connsiteX175" fmla="*/ 1360596 w 1394458"/>
                <a:gd name="connsiteY175" fmla="*/ 37515 h 273890"/>
                <a:gd name="connsiteX176" fmla="*/ 1350178 w 1394458"/>
                <a:gd name="connsiteY176" fmla="*/ 47763 h 273890"/>
                <a:gd name="connsiteX177" fmla="*/ 1346706 w 1394458"/>
                <a:gd name="connsiteY177" fmla="*/ 64436 h 273890"/>
                <a:gd name="connsiteX178" fmla="*/ 1346706 w 1394458"/>
                <a:gd name="connsiteY178" fmla="*/ 270418 h 273890"/>
                <a:gd name="connsiteX179" fmla="*/ 1385431 w 1394458"/>
                <a:gd name="connsiteY179" fmla="*/ 82500 h 273890"/>
                <a:gd name="connsiteX180" fmla="*/ 1385431 w 1394458"/>
                <a:gd name="connsiteY180" fmla="*/ 113069 h 273890"/>
                <a:gd name="connsiteX181" fmla="*/ 1276015 w 1394458"/>
                <a:gd name="connsiteY181" fmla="*/ 113069 h 273890"/>
                <a:gd name="connsiteX182" fmla="*/ 1276015 w 1394458"/>
                <a:gd name="connsiteY182" fmla="*/ 82500 h 273890"/>
                <a:gd name="connsiteX183" fmla="*/ 1385431 w 1394458"/>
                <a:gd name="connsiteY183" fmla="*/ 82500 h 2738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1394458" h="273890">
                  <a:moveTo>
                    <a:pt x="157354" y="188093"/>
                  </a:moveTo>
                  <a:lnTo>
                    <a:pt x="200773" y="188093"/>
                  </a:lnTo>
                  <a:cubicBezTo>
                    <a:pt x="199382" y="204650"/>
                    <a:pt x="194752" y="219411"/>
                    <a:pt x="186877" y="232383"/>
                  </a:cubicBezTo>
                  <a:cubicBezTo>
                    <a:pt x="179003" y="245233"/>
                    <a:pt x="167947" y="255365"/>
                    <a:pt x="153706" y="262777"/>
                  </a:cubicBezTo>
                  <a:cubicBezTo>
                    <a:pt x="139465" y="270185"/>
                    <a:pt x="122155" y="273891"/>
                    <a:pt x="101775" y="273891"/>
                  </a:cubicBezTo>
                  <a:cubicBezTo>
                    <a:pt x="86143" y="273891"/>
                    <a:pt x="72077" y="271114"/>
                    <a:pt x="59572" y="265554"/>
                  </a:cubicBezTo>
                  <a:cubicBezTo>
                    <a:pt x="47067" y="259878"/>
                    <a:pt x="36357" y="251892"/>
                    <a:pt x="27442" y="241585"/>
                  </a:cubicBezTo>
                  <a:cubicBezTo>
                    <a:pt x="18526" y="231167"/>
                    <a:pt x="11697" y="218604"/>
                    <a:pt x="6950" y="203901"/>
                  </a:cubicBezTo>
                  <a:cubicBezTo>
                    <a:pt x="2315" y="189192"/>
                    <a:pt x="0" y="172753"/>
                    <a:pt x="0" y="154572"/>
                  </a:cubicBezTo>
                  <a:lnTo>
                    <a:pt x="0" y="133555"/>
                  </a:lnTo>
                  <a:cubicBezTo>
                    <a:pt x="0" y="115379"/>
                    <a:pt x="2374" y="98935"/>
                    <a:pt x="7121" y="84231"/>
                  </a:cubicBezTo>
                  <a:cubicBezTo>
                    <a:pt x="11984" y="69528"/>
                    <a:pt x="18930" y="56965"/>
                    <a:pt x="27962" y="46542"/>
                  </a:cubicBezTo>
                  <a:cubicBezTo>
                    <a:pt x="36994" y="36007"/>
                    <a:pt x="47816" y="27957"/>
                    <a:pt x="60438" y="22403"/>
                  </a:cubicBezTo>
                  <a:cubicBezTo>
                    <a:pt x="73171" y="16843"/>
                    <a:pt x="87471" y="14066"/>
                    <a:pt x="103336" y="14066"/>
                  </a:cubicBezTo>
                  <a:cubicBezTo>
                    <a:pt x="123482" y="14066"/>
                    <a:pt x="140506" y="17772"/>
                    <a:pt x="154397" y="25180"/>
                  </a:cubicBezTo>
                  <a:cubicBezTo>
                    <a:pt x="168293" y="32592"/>
                    <a:pt x="179056" y="42836"/>
                    <a:pt x="186702" y="55919"/>
                  </a:cubicBezTo>
                  <a:cubicBezTo>
                    <a:pt x="194460" y="69003"/>
                    <a:pt x="199207" y="83998"/>
                    <a:pt x="200943" y="100900"/>
                  </a:cubicBezTo>
                  <a:lnTo>
                    <a:pt x="157524" y="100900"/>
                  </a:lnTo>
                  <a:cubicBezTo>
                    <a:pt x="156367" y="90015"/>
                    <a:pt x="153818" y="80695"/>
                    <a:pt x="149883" y="72938"/>
                  </a:cubicBezTo>
                  <a:cubicBezTo>
                    <a:pt x="146065" y="65180"/>
                    <a:pt x="140389" y="59275"/>
                    <a:pt x="132865" y="55224"/>
                  </a:cubicBezTo>
                  <a:cubicBezTo>
                    <a:pt x="125340" y="51055"/>
                    <a:pt x="115496" y="48969"/>
                    <a:pt x="103341" y="48969"/>
                  </a:cubicBezTo>
                  <a:cubicBezTo>
                    <a:pt x="93385" y="48969"/>
                    <a:pt x="84698" y="50822"/>
                    <a:pt x="77291" y="54528"/>
                  </a:cubicBezTo>
                  <a:cubicBezTo>
                    <a:pt x="69878" y="58234"/>
                    <a:pt x="63687" y="63677"/>
                    <a:pt x="58706" y="70856"/>
                  </a:cubicBezTo>
                  <a:cubicBezTo>
                    <a:pt x="53730" y="78035"/>
                    <a:pt x="49966" y="86892"/>
                    <a:pt x="47417" y="97427"/>
                  </a:cubicBezTo>
                  <a:cubicBezTo>
                    <a:pt x="44985" y="107845"/>
                    <a:pt x="43769" y="119771"/>
                    <a:pt x="43769" y="133205"/>
                  </a:cubicBezTo>
                  <a:lnTo>
                    <a:pt x="43769" y="154567"/>
                  </a:lnTo>
                  <a:cubicBezTo>
                    <a:pt x="43769" y="167305"/>
                    <a:pt x="44869" y="178881"/>
                    <a:pt x="47067" y="189304"/>
                  </a:cubicBezTo>
                  <a:cubicBezTo>
                    <a:pt x="49382" y="199611"/>
                    <a:pt x="52855" y="208468"/>
                    <a:pt x="57490" y="215875"/>
                  </a:cubicBezTo>
                  <a:cubicBezTo>
                    <a:pt x="62237" y="223288"/>
                    <a:pt x="68259" y="229017"/>
                    <a:pt x="75550" y="233069"/>
                  </a:cubicBezTo>
                  <a:cubicBezTo>
                    <a:pt x="82845" y="237120"/>
                    <a:pt x="91585" y="239149"/>
                    <a:pt x="101775" y="239149"/>
                  </a:cubicBezTo>
                  <a:cubicBezTo>
                    <a:pt x="114163" y="239149"/>
                    <a:pt x="124178" y="237179"/>
                    <a:pt x="131824" y="233244"/>
                  </a:cubicBezTo>
                  <a:cubicBezTo>
                    <a:pt x="139582" y="229304"/>
                    <a:pt x="145428" y="223575"/>
                    <a:pt x="149363" y="216050"/>
                  </a:cubicBezTo>
                  <a:cubicBezTo>
                    <a:pt x="153414" y="208409"/>
                    <a:pt x="156080" y="199090"/>
                    <a:pt x="157354" y="188088"/>
                  </a:cubicBezTo>
                  <a:close/>
                  <a:moveTo>
                    <a:pt x="313837" y="270418"/>
                  </a:moveTo>
                  <a:lnTo>
                    <a:pt x="259825" y="270418"/>
                  </a:lnTo>
                  <a:lnTo>
                    <a:pt x="260170" y="235856"/>
                  </a:lnTo>
                  <a:lnTo>
                    <a:pt x="313837" y="235856"/>
                  </a:lnTo>
                  <a:cubicBezTo>
                    <a:pt x="329469" y="235856"/>
                    <a:pt x="342553" y="232441"/>
                    <a:pt x="353088" y="225608"/>
                  </a:cubicBezTo>
                  <a:cubicBezTo>
                    <a:pt x="363740" y="218779"/>
                    <a:pt x="371731" y="208993"/>
                    <a:pt x="377057" y="196255"/>
                  </a:cubicBezTo>
                  <a:cubicBezTo>
                    <a:pt x="382499" y="183516"/>
                    <a:pt x="385218" y="168351"/>
                    <a:pt x="385218" y="150754"/>
                  </a:cubicBezTo>
                  <a:lnTo>
                    <a:pt x="385218" y="137033"/>
                  </a:lnTo>
                  <a:cubicBezTo>
                    <a:pt x="385218" y="123371"/>
                    <a:pt x="383657" y="111269"/>
                    <a:pt x="380530" y="100734"/>
                  </a:cubicBezTo>
                  <a:cubicBezTo>
                    <a:pt x="377519" y="90199"/>
                    <a:pt x="373005" y="81342"/>
                    <a:pt x="366984" y="74163"/>
                  </a:cubicBezTo>
                  <a:cubicBezTo>
                    <a:pt x="361079" y="66984"/>
                    <a:pt x="353784" y="61542"/>
                    <a:pt x="345102" y="57840"/>
                  </a:cubicBezTo>
                  <a:cubicBezTo>
                    <a:pt x="336532" y="54134"/>
                    <a:pt x="326634" y="52281"/>
                    <a:pt x="315403" y="52281"/>
                  </a:cubicBezTo>
                  <a:lnTo>
                    <a:pt x="258784" y="52281"/>
                  </a:lnTo>
                  <a:lnTo>
                    <a:pt x="258784" y="17544"/>
                  </a:lnTo>
                  <a:lnTo>
                    <a:pt x="315403" y="17544"/>
                  </a:lnTo>
                  <a:cubicBezTo>
                    <a:pt x="332193" y="17544"/>
                    <a:pt x="347534" y="20379"/>
                    <a:pt x="361429" y="26055"/>
                  </a:cubicBezTo>
                  <a:cubicBezTo>
                    <a:pt x="375325" y="31615"/>
                    <a:pt x="387310" y="39660"/>
                    <a:pt x="397383" y="50195"/>
                  </a:cubicBezTo>
                  <a:cubicBezTo>
                    <a:pt x="407572" y="60730"/>
                    <a:pt x="415389" y="73351"/>
                    <a:pt x="420826" y="88054"/>
                  </a:cubicBezTo>
                  <a:cubicBezTo>
                    <a:pt x="426269" y="102758"/>
                    <a:pt x="428988" y="119202"/>
                    <a:pt x="428988" y="137378"/>
                  </a:cubicBezTo>
                  <a:lnTo>
                    <a:pt x="428988" y="150754"/>
                  </a:lnTo>
                  <a:cubicBezTo>
                    <a:pt x="428988" y="168930"/>
                    <a:pt x="426269" y="185374"/>
                    <a:pt x="420826" y="200078"/>
                  </a:cubicBezTo>
                  <a:cubicBezTo>
                    <a:pt x="415384" y="214781"/>
                    <a:pt x="407568" y="227403"/>
                    <a:pt x="397383" y="237938"/>
                  </a:cubicBezTo>
                  <a:cubicBezTo>
                    <a:pt x="387193" y="248356"/>
                    <a:pt x="375038" y="256405"/>
                    <a:pt x="360909" y="262077"/>
                  </a:cubicBezTo>
                  <a:cubicBezTo>
                    <a:pt x="346896" y="267636"/>
                    <a:pt x="331211" y="270413"/>
                    <a:pt x="313842" y="270413"/>
                  </a:cubicBezTo>
                  <a:close/>
                  <a:moveTo>
                    <a:pt x="283964" y="17544"/>
                  </a:moveTo>
                  <a:lnTo>
                    <a:pt x="283964" y="270418"/>
                  </a:lnTo>
                  <a:lnTo>
                    <a:pt x="240369" y="270418"/>
                  </a:lnTo>
                  <a:lnTo>
                    <a:pt x="240369" y="17544"/>
                  </a:lnTo>
                  <a:lnTo>
                    <a:pt x="283964" y="17544"/>
                  </a:lnTo>
                  <a:close/>
                  <a:moveTo>
                    <a:pt x="519299" y="17544"/>
                  </a:moveTo>
                  <a:lnTo>
                    <a:pt x="519299" y="270418"/>
                  </a:lnTo>
                  <a:lnTo>
                    <a:pt x="475705" y="270418"/>
                  </a:lnTo>
                  <a:lnTo>
                    <a:pt x="475705" y="17544"/>
                  </a:lnTo>
                  <a:lnTo>
                    <a:pt x="519299" y="17544"/>
                  </a:lnTo>
                  <a:close/>
                  <a:moveTo>
                    <a:pt x="811424" y="188093"/>
                  </a:moveTo>
                  <a:lnTo>
                    <a:pt x="854843" y="188093"/>
                  </a:lnTo>
                  <a:cubicBezTo>
                    <a:pt x="853452" y="204650"/>
                    <a:pt x="848822" y="219411"/>
                    <a:pt x="840947" y="232383"/>
                  </a:cubicBezTo>
                  <a:cubicBezTo>
                    <a:pt x="833073" y="245233"/>
                    <a:pt x="822017" y="255365"/>
                    <a:pt x="807776" y="262777"/>
                  </a:cubicBezTo>
                  <a:cubicBezTo>
                    <a:pt x="793535" y="270185"/>
                    <a:pt x="776225" y="273891"/>
                    <a:pt x="755845" y="273891"/>
                  </a:cubicBezTo>
                  <a:cubicBezTo>
                    <a:pt x="740213" y="273891"/>
                    <a:pt x="726147" y="271114"/>
                    <a:pt x="713642" y="265554"/>
                  </a:cubicBezTo>
                  <a:cubicBezTo>
                    <a:pt x="701137" y="259878"/>
                    <a:pt x="690427" y="251892"/>
                    <a:pt x="681512" y="241585"/>
                  </a:cubicBezTo>
                  <a:cubicBezTo>
                    <a:pt x="672596" y="231167"/>
                    <a:pt x="665768" y="218604"/>
                    <a:pt x="661021" y="203901"/>
                  </a:cubicBezTo>
                  <a:cubicBezTo>
                    <a:pt x="656390" y="189197"/>
                    <a:pt x="654075" y="172753"/>
                    <a:pt x="654075" y="154577"/>
                  </a:cubicBezTo>
                  <a:lnTo>
                    <a:pt x="654075" y="133560"/>
                  </a:lnTo>
                  <a:cubicBezTo>
                    <a:pt x="654075" y="115384"/>
                    <a:pt x="656449" y="98940"/>
                    <a:pt x="661196" y="84236"/>
                  </a:cubicBezTo>
                  <a:cubicBezTo>
                    <a:pt x="666059" y="69533"/>
                    <a:pt x="673005" y="56970"/>
                    <a:pt x="682037" y="46547"/>
                  </a:cubicBezTo>
                  <a:cubicBezTo>
                    <a:pt x="691069" y="36012"/>
                    <a:pt x="701891" y="27962"/>
                    <a:pt x="714513" y="22408"/>
                  </a:cubicBezTo>
                  <a:cubicBezTo>
                    <a:pt x="727246" y="16848"/>
                    <a:pt x="741546" y="14071"/>
                    <a:pt x="757411" y="14071"/>
                  </a:cubicBezTo>
                  <a:cubicBezTo>
                    <a:pt x="777557" y="14071"/>
                    <a:pt x="794581" y="17777"/>
                    <a:pt x="808472" y="25185"/>
                  </a:cubicBezTo>
                  <a:cubicBezTo>
                    <a:pt x="822368" y="32597"/>
                    <a:pt x="833131" y="42840"/>
                    <a:pt x="840777" y="55924"/>
                  </a:cubicBezTo>
                  <a:cubicBezTo>
                    <a:pt x="848535" y="69008"/>
                    <a:pt x="853282" y="84003"/>
                    <a:pt x="855018" y="100905"/>
                  </a:cubicBezTo>
                  <a:lnTo>
                    <a:pt x="811599" y="100905"/>
                  </a:lnTo>
                  <a:cubicBezTo>
                    <a:pt x="810442" y="90019"/>
                    <a:pt x="807893" y="80700"/>
                    <a:pt x="803958" y="72943"/>
                  </a:cubicBezTo>
                  <a:cubicBezTo>
                    <a:pt x="800140" y="65185"/>
                    <a:pt x="794464" y="59280"/>
                    <a:pt x="786940" y="55229"/>
                  </a:cubicBezTo>
                  <a:cubicBezTo>
                    <a:pt x="779415" y="51060"/>
                    <a:pt x="769571" y="48974"/>
                    <a:pt x="757416" y="48974"/>
                  </a:cubicBezTo>
                  <a:cubicBezTo>
                    <a:pt x="747460" y="48974"/>
                    <a:pt x="738773" y="50827"/>
                    <a:pt x="731366" y="54533"/>
                  </a:cubicBezTo>
                  <a:cubicBezTo>
                    <a:pt x="723953" y="58239"/>
                    <a:pt x="717762" y="63682"/>
                    <a:pt x="712781" y="70861"/>
                  </a:cubicBezTo>
                  <a:cubicBezTo>
                    <a:pt x="707801" y="78040"/>
                    <a:pt x="704041" y="86897"/>
                    <a:pt x="701492" y="97432"/>
                  </a:cubicBezTo>
                  <a:cubicBezTo>
                    <a:pt x="699060" y="107850"/>
                    <a:pt x="697844" y="119776"/>
                    <a:pt x="697844" y="133210"/>
                  </a:cubicBezTo>
                  <a:lnTo>
                    <a:pt x="697844" y="154572"/>
                  </a:lnTo>
                  <a:cubicBezTo>
                    <a:pt x="697844" y="167310"/>
                    <a:pt x="698944" y="178886"/>
                    <a:pt x="701142" y="189309"/>
                  </a:cubicBezTo>
                  <a:cubicBezTo>
                    <a:pt x="703457" y="199616"/>
                    <a:pt x="706930" y="208473"/>
                    <a:pt x="711565" y="215880"/>
                  </a:cubicBezTo>
                  <a:cubicBezTo>
                    <a:pt x="716312" y="223293"/>
                    <a:pt x="722334" y="229022"/>
                    <a:pt x="729629" y="233074"/>
                  </a:cubicBezTo>
                  <a:cubicBezTo>
                    <a:pt x="736925" y="237125"/>
                    <a:pt x="745665" y="239154"/>
                    <a:pt x="755855" y="239154"/>
                  </a:cubicBezTo>
                  <a:cubicBezTo>
                    <a:pt x="768243" y="239154"/>
                    <a:pt x="778258" y="237184"/>
                    <a:pt x="785904" y="233249"/>
                  </a:cubicBezTo>
                  <a:cubicBezTo>
                    <a:pt x="793661" y="229309"/>
                    <a:pt x="799508" y="223580"/>
                    <a:pt x="803443" y="216055"/>
                  </a:cubicBezTo>
                  <a:cubicBezTo>
                    <a:pt x="807494" y="208414"/>
                    <a:pt x="810159" y="199095"/>
                    <a:pt x="811434" y="188093"/>
                  </a:cubicBezTo>
                  <a:close/>
                  <a:moveTo>
                    <a:pt x="882285" y="178541"/>
                  </a:moveTo>
                  <a:lnTo>
                    <a:pt x="882285" y="174548"/>
                  </a:lnTo>
                  <a:cubicBezTo>
                    <a:pt x="882285" y="161002"/>
                    <a:pt x="884255" y="148439"/>
                    <a:pt x="888190" y="136858"/>
                  </a:cubicBezTo>
                  <a:cubicBezTo>
                    <a:pt x="892124" y="125165"/>
                    <a:pt x="897800" y="115034"/>
                    <a:pt x="905208" y="106464"/>
                  </a:cubicBezTo>
                  <a:cubicBezTo>
                    <a:pt x="912732" y="97782"/>
                    <a:pt x="921881" y="91065"/>
                    <a:pt x="932650" y="86318"/>
                  </a:cubicBezTo>
                  <a:cubicBezTo>
                    <a:pt x="943535" y="81454"/>
                    <a:pt x="955806" y="79022"/>
                    <a:pt x="969469" y="79022"/>
                  </a:cubicBezTo>
                  <a:cubicBezTo>
                    <a:pt x="983131" y="79022"/>
                    <a:pt x="995519" y="81454"/>
                    <a:pt x="1006288" y="86318"/>
                  </a:cubicBezTo>
                  <a:cubicBezTo>
                    <a:pt x="1017173" y="91065"/>
                    <a:pt x="1026375" y="97782"/>
                    <a:pt x="1033899" y="106464"/>
                  </a:cubicBezTo>
                  <a:cubicBezTo>
                    <a:pt x="1041424" y="115034"/>
                    <a:pt x="1047158" y="125165"/>
                    <a:pt x="1051093" y="136858"/>
                  </a:cubicBezTo>
                  <a:cubicBezTo>
                    <a:pt x="1055028" y="148434"/>
                    <a:pt x="1056998" y="160997"/>
                    <a:pt x="1056998" y="174548"/>
                  </a:cubicBezTo>
                  <a:lnTo>
                    <a:pt x="1056998" y="178541"/>
                  </a:lnTo>
                  <a:cubicBezTo>
                    <a:pt x="1056998" y="192086"/>
                    <a:pt x="1055028" y="204650"/>
                    <a:pt x="1051093" y="216226"/>
                  </a:cubicBezTo>
                  <a:cubicBezTo>
                    <a:pt x="1047153" y="227806"/>
                    <a:pt x="1041424" y="237938"/>
                    <a:pt x="1033899" y="246619"/>
                  </a:cubicBezTo>
                  <a:cubicBezTo>
                    <a:pt x="1026375" y="255189"/>
                    <a:pt x="1017226" y="261902"/>
                    <a:pt x="1006458" y="266765"/>
                  </a:cubicBezTo>
                  <a:cubicBezTo>
                    <a:pt x="995689" y="271512"/>
                    <a:pt x="983476" y="273886"/>
                    <a:pt x="969814" y="273886"/>
                  </a:cubicBezTo>
                  <a:cubicBezTo>
                    <a:pt x="956151" y="273886"/>
                    <a:pt x="943705" y="271512"/>
                    <a:pt x="932820" y="266765"/>
                  </a:cubicBezTo>
                  <a:cubicBezTo>
                    <a:pt x="922051" y="261902"/>
                    <a:pt x="912907" y="255189"/>
                    <a:pt x="905378" y="246619"/>
                  </a:cubicBezTo>
                  <a:cubicBezTo>
                    <a:pt x="897854" y="237938"/>
                    <a:pt x="892119" y="227806"/>
                    <a:pt x="888185" y="216226"/>
                  </a:cubicBezTo>
                  <a:cubicBezTo>
                    <a:pt x="884245" y="204650"/>
                    <a:pt x="882280" y="192086"/>
                    <a:pt x="882280" y="178541"/>
                  </a:cubicBezTo>
                  <a:close/>
                  <a:moveTo>
                    <a:pt x="924143" y="174548"/>
                  </a:moveTo>
                  <a:lnTo>
                    <a:pt x="924143" y="178541"/>
                  </a:lnTo>
                  <a:cubicBezTo>
                    <a:pt x="924143" y="186994"/>
                    <a:pt x="925013" y="194980"/>
                    <a:pt x="926750" y="202510"/>
                  </a:cubicBezTo>
                  <a:cubicBezTo>
                    <a:pt x="928486" y="210034"/>
                    <a:pt x="931210" y="216634"/>
                    <a:pt x="934911" y="222310"/>
                  </a:cubicBezTo>
                  <a:cubicBezTo>
                    <a:pt x="938617" y="227981"/>
                    <a:pt x="943365" y="232441"/>
                    <a:pt x="949152" y="235681"/>
                  </a:cubicBezTo>
                  <a:cubicBezTo>
                    <a:pt x="954940" y="238925"/>
                    <a:pt x="961832" y="240545"/>
                    <a:pt x="969819" y="240545"/>
                  </a:cubicBezTo>
                  <a:cubicBezTo>
                    <a:pt x="977805" y="240545"/>
                    <a:pt x="984293" y="238925"/>
                    <a:pt x="989965" y="235681"/>
                  </a:cubicBezTo>
                  <a:cubicBezTo>
                    <a:pt x="995753" y="232441"/>
                    <a:pt x="1000500" y="227981"/>
                    <a:pt x="1004206" y="222310"/>
                  </a:cubicBezTo>
                  <a:cubicBezTo>
                    <a:pt x="1007912" y="216634"/>
                    <a:pt x="1010631" y="210039"/>
                    <a:pt x="1012367" y="202510"/>
                  </a:cubicBezTo>
                  <a:cubicBezTo>
                    <a:pt x="1014220" y="194985"/>
                    <a:pt x="1015145" y="186994"/>
                    <a:pt x="1015145" y="178541"/>
                  </a:cubicBezTo>
                  <a:lnTo>
                    <a:pt x="1015145" y="174548"/>
                  </a:lnTo>
                  <a:cubicBezTo>
                    <a:pt x="1015145" y="166211"/>
                    <a:pt x="1014220" y="158336"/>
                    <a:pt x="1012367" y="150929"/>
                  </a:cubicBezTo>
                  <a:cubicBezTo>
                    <a:pt x="1010631" y="143405"/>
                    <a:pt x="1007854" y="136746"/>
                    <a:pt x="1004031" y="130958"/>
                  </a:cubicBezTo>
                  <a:cubicBezTo>
                    <a:pt x="1000325" y="125170"/>
                    <a:pt x="995578" y="120652"/>
                    <a:pt x="989790" y="117412"/>
                  </a:cubicBezTo>
                  <a:cubicBezTo>
                    <a:pt x="984118" y="114056"/>
                    <a:pt x="977343" y="112373"/>
                    <a:pt x="969469" y="112373"/>
                  </a:cubicBezTo>
                  <a:cubicBezTo>
                    <a:pt x="961594" y="112373"/>
                    <a:pt x="954765" y="114051"/>
                    <a:pt x="948977" y="117412"/>
                  </a:cubicBezTo>
                  <a:cubicBezTo>
                    <a:pt x="943301" y="120657"/>
                    <a:pt x="938613" y="125170"/>
                    <a:pt x="934911" y="130958"/>
                  </a:cubicBezTo>
                  <a:cubicBezTo>
                    <a:pt x="931205" y="136746"/>
                    <a:pt x="928486" y="143405"/>
                    <a:pt x="926750" y="150929"/>
                  </a:cubicBezTo>
                  <a:cubicBezTo>
                    <a:pt x="925013" y="158336"/>
                    <a:pt x="924143" y="166211"/>
                    <a:pt x="924143" y="174548"/>
                  </a:cubicBezTo>
                  <a:close/>
                  <a:moveTo>
                    <a:pt x="1133598" y="122617"/>
                  </a:moveTo>
                  <a:lnTo>
                    <a:pt x="1133598" y="270418"/>
                  </a:lnTo>
                  <a:lnTo>
                    <a:pt x="1091745" y="270418"/>
                  </a:lnTo>
                  <a:lnTo>
                    <a:pt x="1091745" y="82495"/>
                  </a:lnTo>
                  <a:lnTo>
                    <a:pt x="1131171" y="82495"/>
                  </a:lnTo>
                  <a:lnTo>
                    <a:pt x="1133603" y="122617"/>
                  </a:lnTo>
                  <a:close/>
                  <a:moveTo>
                    <a:pt x="1126132" y="169509"/>
                  </a:moveTo>
                  <a:lnTo>
                    <a:pt x="1112586" y="169334"/>
                  </a:lnTo>
                  <a:cubicBezTo>
                    <a:pt x="1112703" y="156016"/>
                    <a:pt x="1114556" y="143803"/>
                    <a:pt x="1118145" y="132690"/>
                  </a:cubicBezTo>
                  <a:cubicBezTo>
                    <a:pt x="1121852" y="121576"/>
                    <a:pt x="1126944" y="112023"/>
                    <a:pt x="1133428" y="104032"/>
                  </a:cubicBezTo>
                  <a:cubicBezTo>
                    <a:pt x="1140028" y="96046"/>
                    <a:pt x="1147902" y="89908"/>
                    <a:pt x="1157046" y="85623"/>
                  </a:cubicBezTo>
                  <a:cubicBezTo>
                    <a:pt x="1166195" y="81226"/>
                    <a:pt x="1176385" y="79022"/>
                    <a:pt x="1187615" y="79022"/>
                  </a:cubicBezTo>
                  <a:cubicBezTo>
                    <a:pt x="1196647" y="79022"/>
                    <a:pt x="1204809" y="80297"/>
                    <a:pt x="1212105" y="82840"/>
                  </a:cubicBezTo>
                  <a:cubicBezTo>
                    <a:pt x="1219517" y="85272"/>
                    <a:pt x="1225825" y="89265"/>
                    <a:pt x="1231034" y="94825"/>
                  </a:cubicBezTo>
                  <a:cubicBezTo>
                    <a:pt x="1236360" y="100384"/>
                    <a:pt x="1240412" y="107617"/>
                    <a:pt x="1243189" y="116532"/>
                  </a:cubicBezTo>
                  <a:cubicBezTo>
                    <a:pt x="1245966" y="125331"/>
                    <a:pt x="1247357" y="136157"/>
                    <a:pt x="1247357" y="149008"/>
                  </a:cubicBezTo>
                  <a:lnTo>
                    <a:pt x="1247357" y="270408"/>
                  </a:lnTo>
                  <a:lnTo>
                    <a:pt x="1205329" y="270408"/>
                  </a:lnTo>
                  <a:lnTo>
                    <a:pt x="1205329" y="148833"/>
                  </a:lnTo>
                  <a:cubicBezTo>
                    <a:pt x="1205329" y="139800"/>
                    <a:pt x="1203996" y="132680"/>
                    <a:pt x="1201336" y="127471"/>
                  </a:cubicBezTo>
                  <a:cubicBezTo>
                    <a:pt x="1198787" y="122145"/>
                    <a:pt x="1195028" y="118380"/>
                    <a:pt x="1190047" y="116182"/>
                  </a:cubicBezTo>
                  <a:cubicBezTo>
                    <a:pt x="1185183" y="113867"/>
                    <a:pt x="1179104" y="112709"/>
                    <a:pt x="1171813" y="112709"/>
                  </a:cubicBezTo>
                  <a:cubicBezTo>
                    <a:pt x="1164522" y="112709"/>
                    <a:pt x="1158209" y="114212"/>
                    <a:pt x="1152533" y="117223"/>
                  </a:cubicBezTo>
                  <a:cubicBezTo>
                    <a:pt x="1146861" y="120233"/>
                    <a:pt x="1142056" y="124343"/>
                    <a:pt x="1138116" y="129552"/>
                  </a:cubicBezTo>
                  <a:cubicBezTo>
                    <a:pt x="1134293" y="134762"/>
                    <a:pt x="1131341" y="140783"/>
                    <a:pt x="1129259" y="147617"/>
                  </a:cubicBezTo>
                  <a:cubicBezTo>
                    <a:pt x="1127178" y="154445"/>
                    <a:pt x="1126132" y="161741"/>
                    <a:pt x="1126132" y="169499"/>
                  </a:cubicBezTo>
                  <a:close/>
                  <a:moveTo>
                    <a:pt x="1346701" y="270418"/>
                  </a:moveTo>
                  <a:lnTo>
                    <a:pt x="1304843" y="270418"/>
                  </a:lnTo>
                  <a:lnTo>
                    <a:pt x="1304843" y="64436"/>
                  </a:lnTo>
                  <a:cubicBezTo>
                    <a:pt x="1304843" y="50428"/>
                    <a:pt x="1307450" y="38672"/>
                    <a:pt x="1312659" y="29178"/>
                  </a:cubicBezTo>
                  <a:cubicBezTo>
                    <a:pt x="1317985" y="19567"/>
                    <a:pt x="1325567" y="12330"/>
                    <a:pt x="1335412" y="7471"/>
                  </a:cubicBezTo>
                  <a:cubicBezTo>
                    <a:pt x="1345256" y="2490"/>
                    <a:pt x="1356890" y="0"/>
                    <a:pt x="1370319" y="0"/>
                  </a:cubicBezTo>
                  <a:cubicBezTo>
                    <a:pt x="1374488" y="0"/>
                    <a:pt x="1378597" y="292"/>
                    <a:pt x="1382649" y="871"/>
                  </a:cubicBezTo>
                  <a:cubicBezTo>
                    <a:pt x="1386701" y="1333"/>
                    <a:pt x="1390640" y="2087"/>
                    <a:pt x="1394458" y="3127"/>
                  </a:cubicBezTo>
                  <a:lnTo>
                    <a:pt x="1393418" y="35433"/>
                  </a:lnTo>
                  <a:cubicBezTo>
                    <a:pt x="1391102" y="34854"/>
                    <a:pt x="1388554" y="34450"/>
                    <a:pt x="1385776" y="34217"/>
                  </a:cubicBezTo>
                  <a:cubicBezTo>
                    <a:pt x="1383116" y="33983"/>
                    <a:pt x="1380217" y="33867"/>
                    <a:pt x="1377095" y="33867"/>
                  </a:cubicBezTo>
                  <a:cubicBezTo>
                    <a:pt x="1370728" y="33867"/>
                    <a:pt x="1365227" y="35083"/>
                    <a:pt x="1360596" y="37515"/>
                  </a:cubicBezTo>
                  <a:cubicBezTo>
                    <a:pt x="1356083" y="39830"/>
                    <a:pt x="1352605" y="43244"/>
                    <a:pt x="1350178" y="47763"/>
                  </a:cubicBezTo>
                  <a:cubicBezTo>
                    <a:pt x="1347863" y="52281"/>
                    <a:pt x="1346706" y="57836"/>
                    <a:pt x="1346706" y="64436"/>
                  </a:cubicBezTo>
                  <a:lnTo>
                    <a:pt x="1346706" y="270418"/>
                  </a:lnTo>
                  <a:close/>
                  <a:moveTo>
                    <a:pt x="1385431" y="82500"/>
                  </a:moveTo>
                  <a:lnTo>
                    <a:pt x="1385431" y="113069"/>
                  </a:lnTo>
                  <a:lnTo>
                    <a:pt x="1276015" y="113069"/>
                  </a:lnTo>
                  <a:lnTo>
                    <a:pt x="1276015" y="82500"/>
                  </a:lnTo>
                  <a:lnTo>
                    <a:pt x="1385431" y="82500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Полилиния: фигура 11">
              <a:extLst>
                <a:ext uri="{FF2B5EF4-FFF2-40B4-BE49-F238E27FC236}">
                  <a16:creationId xmlns:a16="http://schemas.microsoft.com/office/drawing/2014/main" id="{58F1A11E-E040-430E-A06A-56C6A3E3AA72}"/>
                </a:ext>
              </a:extLst>
            </p:cNvPr>
            <p:cNvSpPr/>
            <p:nvPr/>
          </p:nvSpPr>
          <p:spPr>
            <a:xfrm>
              <a:off x="8902858" y="5892336"/>
              <a:ext cx="774600" cy="259834"/>
            </a:xfrm>
            <a:custGeom>
              <a:avLst/>
              <a:gdLst>
                <a:gd name="connsiteX0" fmla="*/ 174372 w 774600"/>
                <a:gd name="connsiteY0" fmla="*/ 223015 h 259834"/>
                <a:gd name="connsiteX1" fmla="*/ 174372 w 774600"/>
                <a:gd name="connsiteY1" fmla="*/ 256362 h 259834"/>
                <a:gd name="connsiteX2" fmla="*/ 4859 w 774600"/>
                <a:gd name="connsiteY2" fmla="*/ 256362 h 259834"/>
                <a:gd name="connsiteX3" fmla="*/ 4859 w 774600"/>
                <a:gd name="connsiteY3" fmla="*/ 227704 h 259834"/>
                <a:gd name="connsiteX4" fmla="*/ 87193 w 774600"/>
                <a:gd name="connsiteY4" fmla="*/ 137913 h 259834"/>
                <a:gd name="connsiteX5" fmla="*/ 108541 w 774600"/>
                <a:gd name="connsiteY5" fmla="*/ 111513 h 259834"/>
                <a:gd name="connsiteX6" fmla="*/ 119499 w 774600"/>
                <a:gd name="connsiteY6" fmla="*/ 91542 h 259834"/>
                <a:gd name="connsiteX7" fmla="*/ 122797 w 774600"/>
                <a:gd name="connsiteY7" fmla="*/ 73998 h 259834"/>
                <a:gd name="connsiteX8" fmla="*/ 118278 w 774600"/>
                <a:gd name="connsiteY8" fmla="*/ 52981 h 259834"/>
                <a:gd name="connsiteX9" fmla="*/ 105413 w 774600"/>
                <a:gd name="connsiteY9" fmla="*/ 38565 h 259834"/>
                <a:gd name="connsiteX10" fmla="*/ 84752 w 774600"/>
                <a:gd name="connsiteY10" fmla="*/ 33181 h 259834"/>
                <a:gd name="connsiteX11" fmla="*/ 61138 w 774600"/>
                <a:gd name="connsiteY11" fmla="*/ 39261 h 259834"/>
                <a:gd name="connsiteX12" fmla="*/ 46712 w 774600"/>
                <a:gd name="connsiteY12" fmla="*/ 56109 h 259834"/>
                <a:gd name="connsiteX13" fmla="*/ 41853 w 774600"/>
                <a:gd name="connsiteY13" fmla="*/ 80423 h 259834"/>
                <a:gd name="connsiteX14" fmla="*/ 0 w 774600"/>
                <a:gd name="connsiteY14" fmla="*/ 80423 h 259834"/>
                <a:gd name="connsiteX15" fmla="*/ 10083 w 774600"/>
                <a:gd name="connsiteY15" fmla="*/ 40131 h 259834"/>
                <a:gd name="connsiteX16" fmla="*/ 39261 w 774600"/>
                <a:gd name="connsiteY16" fmla="*/ 10953 h 259834"/>
                <a:gd name="connsiteX17" fmla="*/ 85272 w 774600"/>
                <a:gd name="connsiteY17" fmla="*/ 10 h 259834"/>
                <a:gd name="connsiteX18" fmla="*/ 128346 w 774600"/>
                <a:gd name="connsiteY18" fmla="*/ 8521 h 259834"/>
                <a:gd name="connsiteX19" fmla="*/ 155277 w 774600"/>
                <a:gd name="connsiteY19" fmla="*/ 32660 h 259834"/>
                <a:gd name="connsiteX20" fmla="*/ 164654 w 774600"/>
                <a:gd name="connsiteY20" fmla="*/ 69655 h 259834"/>
                <a:gd name="connsiteX21" fmla="*/ 160827 w 774600"/>
                <a:gd name="connsiteY21" fmla="*/ 93103 h 259834"/>
                <a:gd name="connsiteX22" fmla="*/ 149888 w 774600"/>
                <a:gd name="connsiteY22" fmla="*/ 116376 h 259834"/>
                <a:gd name="connsiteX23" fmla="*/ 133400 w 774600"/>
                <a:gd name="connsiteY23" fmla="*/ 139475 h 259834"/>
                <a:gd name="connsiteX24" fmla="*/ 112378 w 774600"/>
                <a:gd name="connsiteY24" fmla="*/ 162748 h 259834"/>
                <a:gd name="connsiteX25" fmla="*/ 57675 w 774600"/>
                <a:gd name="connsiteY25" fmla="*/ 223015 h 259834"/>
                <a:gd name="connsiteX26" fmla="*/ 174377 w 774600"/>
                <a:gd name="connsiteY26" fmla="*/ 223015 h 259834"/>
                <a:gd name="connsiteX27" fmla="*/ 371848 w 774600"/>
                <a:gd name="connsiteY27" fmla="*/ 108735 h 259834"/>
                <a:gd name="connsiteX28" fmla="*/ 371848 w 774600"/>
                <a:gd name="connsiteY28" fmla="*/ 150068 h 259834"/>
                <a:gd name="connsiteX29" fmla="*/ 365938 w 774600"/>
                <a:gd name="connsiteY29" fmla="*/ 200783 h 259834"/>
                <a:gd name="connsiteX30" fmla="*/ 349260 w 774600"/>
                <a:gd name="connsiteY30" fmla="*/ 234650 h 259834"/>
                <a:gd name="connsiteX31" fmla="*/ 323035 w 774600"/>
                <a:gd name="connsiteY31" fmla="*/ 253755 h 259834"/>
                <a:gd name="connsiteX32" fmla="*/ 289168 w 774600"/>
                <a:gd name="connsiteY32" fmla="*/ 259834 h 259834"/>
                <a:gd name="connsiteX33" fmla="*/ 261381 w 774600"/>
                <a:gd name="connsiteY33" fmla="*/ 256011 h 259834"/>
                <a:gd name="connsiteX34" fmla="*/ 238468 w 774600"/>
                <a:gd name="connsiteY34" fmla="*/ 244027 h 259834"/>
                <a:gd name="connsiteX35" fmla="*/ 220914 w 774600"/>
                <a:gd name="connsiteY35" fmla="*/ 223011 h 259834"/>
                <a:gd name="connsiteX36" fmla="*/ 209800 w 774600"/>
                <a:gd name="connsiteY36" fmla="*/ 191921 h 259834"/>
                <a:gd name="connsiteX37" fmla="*/ 205972 w 774600"/>
                <a:gd name="connsiteY37" fmla="*/ 150063 h 259834"/>
                <a:gd name="connsiteX38" fmla="*/ 205972 w 774600"/>
                <a:gd name="connsiteY38" fmla="*/ 108730 h 259834"/>
                <a:gd name="connsiteX39" fmla="*/ 211882 w 774600"/>
                <a:gd name="connsiteY39" fmla="*/ 58366 h 259834"/>
                <a:gd name="connsiteX40" fmla="*/ 228730 w 774600"/>
                <a:gd name="connsiteY40" fmla="*/ 24844 h 259834"/>
                <a:gd name="connsiteX41" fmla="*/ 254786 w 774600"/>
                <a:gd name="connsiteY41" fmla="*/ 5914 h 259834"/>
                <a:gd name="connsiteX42" fmla="*/ 288827 w 774600"/>
                <a:gd name="connsiteY42" fmla="*/ 10 h 259834"/>
                <a:gd name="connsiteX43" fmla="*/ 316614 w 774600"/>
                <a:gd name="connsiteY43" fmla="*/ 3833 h 259834"/>
                <a:gd name="connsiteX44" fmla="*/ 339542 w 774600"/>
                <a:gd name="connsiteY44" fmla="*/ 15467 h 259834"/>
                <a:gd name="connsiteX45" fmla="*/ 356906 w 774600"/>
                <a:gd name="connsiteY45" fmla="*/ 36308 h 259834"/>
                <a:gd name="connsiteX46" fmla="*/ 368020 w 774600"/>
                <a:gd name="connsiteY46" fmla="*/ 67048 h 259834"/>
                <a:gd name="connsiteX47" fmla="*/ 371848 w 774600"/>
                <a:gd name="connsiteY47" fmla="*/ 108730 h 259834"/>
                <a:gd name="connsiteX48" fmla="*/ 329995 w 774600"/>
                <a:gd name="connsiteY48" fmla="*/ 155978 h 259834"/>
                <a:gd name="connsiteX49" fmla="*/ 329995 w 774600"/>
                <a:gd name="connsiteY49" fmla="*/ 102485 h 259834"/>
                <a:gd name="connsiteX50" fmla="*/ 328258 w 774600"/>
                <a:gd name="connsiteY50" fmla="*/ 75914 h 259834"/>
                <a:gd name="connsiteX51" fmla="*/ 323039 w 774600"/>
                <a:gd name="connsiteY51" fmla="*/ 56289 h 259834"/>
                <a:gd name="connsiteX52" fmla="*/ 314708 w 774600"/>
                <a:gd name="connsiteY52" fmla="*/ 43088 h 259834"/>
                <a:gd name="connsiteX53" fmla="*/ 303234 w 774600"/>
                <a:gd name="connsiteY53" fmla="*/ 35623 h 259834"/>
                <a:gd name="connsiteX54" fmla="*/ 288823 w 774600"/>
                <a:gd name="connsiteY54" fmla="*/ 33191 h 259834"/>
                <a:gd name="connsiteX55" fmla="*/ 271459 w 774600"/>
                <a:gd name="connsiteY55" fmla="*/ 37014 h 259834"/>
                <a:gd name="connsiteX56" fmla="*/ 258613 w 774600"/>
                <a:gd name="connsiteY56" fmla="*/ 48823 h 259834"/>
                <a:gd name="connsiteX57" fmla="*/ 250608 w 774600"/>
                <a:gd name="connsiteY57" fmla="*/ 70360 h 259834"/>
                <a:gd name="connsiteX58" fmla="*/ 248015 w 774600"/>
                <a:gd name="connsiteY58" fmla="*/ 102490 h 259834"/>
                <a:gd name="connsiteX59" fmla="*/ 248015 w 774600"/>
                <a:gd name="connsiteY59" fmla="*/ 155982 h 259834"/>
                <a:gd name="connsiteX60" fmla="*/ 249752 w 774600"/>
                <a:gd name="connsiteY60" fmla="*/ 182904 h 259834"/>
                <a:gd name="connsiteX61" fmla="*/ 254956 w 774600"/>
                <a:gd name="connsiteY61" fmla="*/ 202874 h 259834"/>
                <a:gd name="connsiteX62" fmla="*/ 263302 w 774600"/>
                <a:gd name="connsiteY62" fmla="*/ 216420 h 259834"/>
                <a:gd name="connsiteX63" fmla="*/ 274756 w 774600"/>
                <a:gd name="connsiteY63" fmla="*/ 224061 h 259834"/>
                <a:gd name="connsiteX64" fmla="*/ 289168 w 774600"/>
                <a:gd name="connsiteY64" fmla="*/ 226493 h 259834"/>
                <a:gd name="connsiteX65" fmla="*/ 306721 w 774600"/>
                <a:gd name="connsiteY65" fmla="*/ 222670 h 259834"/>
                <a:gd name="connsiteX66" fmla="*/ 319567 w 774600"/>
                <a:gd name="connsiteY66" fmla="*/ 210511 h 259834"/>
                <a:gd name="connsiteX67" fmla="*/ 327383 w 774600"/>
                <a:gd name="connsiteY67" fmla="*/ 188453 h 259834"/>
                <a:gd name="connsiteX68" fmla="*/ 329995 w 774600"/>
                <a:gd name="connsiteY68" fmla="*/ 155978 h 259834"/>
                <a:gd name="connsiteX69" fmla="*/ 578701 w 774600"/>
                <a:gd name="connsiteY69" fmla="*/ 223015 h 259834"/>
                <a:gd name="connsiteX70" fmla="*/ 578701 w 774600"/>
                <a:gd name="connsiteY70" fmla="*/ 256362 h 259834"/>
                <a:gd name="connsiteX71" fmla="*/ 409187 w 774600"/>
                <a:gd name="connsiteY71" fmla="*/ 256362 h 259834"/>
                <a:gd name="connsiteX72" fmla="*/ 409187 w 774600"/>
                <a:gd name="connsiteY72" fmla="*/ 227704 h 259834"/>
                <a:gd name="connsiteX73" fmla="*/ 491507 w 774600"/>
                <a:gd name="connsiteY73" fmla="*/ 137913 h 259834"/>
                <a:gd name="connsiteX74" fmla="*/ 512874 w 774600"/>
                <a:gd name="connsiteY74" fmla="*/ 111513 h 259834"/>
                <a:gd name="connsiteX75" fmla="*/ 523813 w 774600"/>
                <a:gd name="connsiteY75" fmla="*/ 91542 h 259834"/>
                <a:gd name="connsiteX76" fmla="*/ 527110 w 774600"/>
                <a:gd name="connsiteY76" fmla="*/ 73998 h 259834"/>
                <a:gd name="connsiteX77" fmla="*/ 522592 w 774600"/>
                <a:gd name="connsiteY77" fmla="*/ 52981 h 259834"/>
                <a:gd name="connsiteX78" fmla="*/ 509746 w 774600"/>
                <a:gd name="connsiteY78" fmla="*/ 38565 h 259834"/>
                <a:gd name="connsiteX79" fmla="*/ 489085 w 774600"/>
                <a:gd name="connsiteY79" fmla="*/ 33181 h 259834"/>
                <a:gd name="connsiteX80" fmla="*/ 465452 w 774600"/>
                <a:gd name="connsiteY80" fmla="*/ 39261 h 259834"/>
                <a:gd name="connsiteX81" fmla="*/ 451040 w 774600"/>
                <a:gd name="connsiteY81" fmla="*/ 56109 h 259834"/>
                <a:gd name="connsiteX82" fmla="*/ 446181 w 774600"/>
                <a:gd name="connsiteY82" fmla="*/ 80423 h 259834"/>
                <a:gd name="connsiteX83" fmla="*/ 404328 w 774600"/>
                <a:gd name="connsiteY83" fmla="*/ 80423 h 259834"/>
                <a:gd name="connsiteX84" fmla="*/ 414391 w 774600"/>
                <a:gd name="connsiteY84" fmla="*/ 40131 h 259834"/>
                <a:gd name="connsiteX85" fmla="*/ 443569 w 774600"/>
                <a:gd name="connsiteY85" fmla="*/ 10953 h 259834"/>
                <a:gd name="connsiteX86" fmla="*/ 489596 w 774600"/>
                <a:gd name="connsiteY86" fmla="*/ 10 h 259834"/>
                <a:gd name="connsiteX87" fmla="*/ 532670 w 774600"/>
                <a:gd name="connsiteY87" fmla="*/ 8521 h 259834"/>
                <a:gd name="connsiteX88" fmla="*/ 559581 w 774600"/>
                <a:gd name="connsiteY88" fmla="*/ 32660 h 259834"/>
                <a:gd name="connsiteX89" fmla="*/ 568958 w 774600"/>
                <a:gd name="connsiteY89" fmla="*/ 69655 h 259834"/>
                <a:gd name="connsiteX90" fmla="*/ 565145 w 774600"/>
                <a:gd name="connsiteY90" fmla="*/ 93103 h 259834"/>
                <a:gd name="connsiteX91" fmla="*/ 554207 w 774600"/>
                <a:gd name="connsiteY91" fmla="*/ 116376 h 259834"/>
                <a:gd name="connsiteX92" fmla="*/ 537704 w 774600"/>
                <a:gd name="connsiteY92" fmla="*/ 139475 h 259834"/>
                <a:gd name="connsiteX93" fmla="*/ 516697 w 774600"/>
                <a:gd name="connsiteY93" fmla="*/ 162748 h 259834"/>
                <a:gd name="connsiteX94" fmla="*/ 461979 w 774600"/>
                <a:gd name="connsiteY94" fmla="*/ 223015 h 259834"/>
                <a:gd name="connsiteX95" fmla="*/ 578701 w 774600"/>
                <a:gd name="connsiteY95" fmla="*/ 223015 h 259834"/>
                <a:gd name="connsiteX96" fmla="*/ 660505 w 774600"/>
                <a:gd name="connsiteY96" fmla="*/ 110992 h 259834"/>
                <a:gd name="connsiteX97" fmla="*/ 685510 w 774600"/>
                <a:gd name="connsiteY97" fmla="*/ 110992 h 259834"/>
                <a:gd name="connsiteX98" fmla="*/ 709639 w 774600"/>
                <a:gd name="connsiteY98" fmla="*/ 105953 h 259834"/>
                <a:gd name="connsiteX99" fmla="*/ 724065 w 774600"/>
                <a:gd name="connsiteY99" fmla="*/ 92057 h 259834"/>
                <a:gd name="connsiteX100" fmla="*/ 728754 w 774600"/>
                <a:gd name="connsiteY100" fmla="*/ 71736 h 259834"/>
                <a:gd name="connsiteX101" fmla="*/ 724411 w 774600"/>
                <a:gd name="connsiteY101" fmla="*/ 51240 h 259834"/>
                <a:gd name="connsiteX102" fmla="*/ 711565 w 774600"/>
                <a:gd name="connsiteY102" fmla="*/ 37865 h 259834"/>
                <a:gd name="connsiteX103" fmla="*/ 689858 w 774600"/>
                <a:gd name="connsiteY103" fmla="*/ 33176 h 259834"/>
                <a:gd name="connsiteX104" fmla="*/ 669712 w 774600"/>
                <a:gd name="connsiteY104" fmla="*/ 37690 h 259834"/>
                <a:gd name="connsiteX105" fmla="*/ 655626 w 774600"/>
                <a:gd name="connsiteY105" fmla="*/ 50195 h 259834"/>
                <a:gd name="connsiteX106" fmla="*/ 650422 w 774600"/>
                <a:gd name="connsiteY106" fmla="*/ 69300 h 259834"/>
                <a:gd name="connsiteX107" fmla="*/ 608394 w 774600"/>
                <a:gd name="connsiteY107" fmla="*/ 69300 h 259834"/>
                <a:gd name="connsiteX108" fmla="*/ 618992 w 774600"/>
                <a:gd name="connsiteY108" fmla="*/ 33521 h 259834"/>
                <a:gd name="connsiteX109" fmla="*/ 647810 w 774600"/>
                <a:gd name="connsiteY109" fmla="*/ 9032 h 259834"/>
                <a:gd name="connsiteX110" fmla="*/ 689148 w 774600"/>
                <a:gd name="connsiteY110" fmla="*/ 0 h 259834"/>
                <a:gd name="connsiteX111" fmla="*/ 731876 w 774600"/>
                <a:gd name="connsiteY111" fmla="*/ 8161 h 259834"/>
                <a:gd name="connsiteX112" fmla="*/ 760524 w 774600"/>
                <a:gd name="connsiteY112" fmla="*/ 32130 h 259834"/>
                <a:gd name="connsiteX113" fmla="*/ 770777 w 774600"/>
                <a:gd name="connsiteY113" fmla="*/ 71731 h 259834"/>
                <a:gd name="connsiteX114" fmla="*/ 765743 w 774600"/>
                <a:gd name="connsiteY114" fmla="*/ 93614 h 259834"/>
                <a:gd name="connsiteX115" fmla="*/ 750802 w 774600"/>
                <a:gd name="connsiteY115" fmla="*/ 113935 h 259834"/>
                <a:gd name="connsiteX116" fmla="*/ 726137 w 774600"/>
                <a:gd name="connsiteY116" fmla="*/ 128696 h 259834"/>
                <a:gd name="connsiteX117" fmla="*/ 691925 w 774600"/>
                <a:gd name="connsiteY117" fmla="*/ 134256 h 259834"/>
                <a:gd name="connsiteX118" fmla="*/ 660495 w 774600"/>
                <a:gd name="connsiteY118" fmla="*/ 134256 h 259834"/>
                <a:gd name="connsiteX119" fmla="*/ 660495 w 774600"/>
                <a:gd name="connsiteY119" fmla="*/ 110982 h 259834"/>
                <a:gd name="connsiteX120" fmla="*/ 660505 w 774600"/>
                <a:gd name="connsiteY120" fmla="*/ 143643 h 259834"/>
                <a:gd name="connsiteX121" fmla="*/ 660505 w 774600"/>
                <a:gd name="connsiteY121" fmla="*/ 120715 h 259834"/>
                <a:gd name="connsiteX122" fmla="*/ 691935 w 774600"/>
                <a:gd name="connsiteY122" fmla="*/ 120715 h 259834"/>
                <a:gd name="connsiteX123" fmla="*/ 729790 w 774600"/>
                <a:gd name="connsiteY123" fmla="*/ 125924 h 259834"/>
                <a:gd name="connsiteX124" fmla="*/ 755500 w 774600"/>
                <a:gd name="connsiteY124" fmla="*/ 140340 h 259834"/>
                <a:gd name="connsiteX125" fmla="*/ 769911 w 774600"/>
                <a:gd name="connsiteY125" fmla="*/ 161007 h 259834"/>
                <a:gd name="connsiteX126" fmla="*/ 774600 w 774600"/>
                <a:gd name="connsiteY126" fmla="*/ 185671 h 259834"/>
                <a:gd name="connsiteX127" fmla="*/ 768175 w 774600"/>
                <a:gd name="connsiteY127" fmla="*/ 217281 h 259834"/>
                <a:gd name="connsiteX128" fmla="*/ 750296 w 774600"/>
                <a:gd name="connsiteY128" fmla="*/ 240554 h 259834"/>
                <a:gd name="connsiteX129" fmla="*/ 723024 w 774600"/>
                <a:gd name="connsiteY129" fmla="*/ 254971 h 259834"/>
                <a:gd name="connsiteX130" fmla="*/ 689328 w 774600"/>
                <a:gd name="connsiteY130" fmla="*/ 259834 h 259834"/>
                <a:gd name="connsiteX131" fmla="*/ 658068 w 774600"/>
                <a:gd name="connsiteY131" fmla="*/ 255316 h 259834"/>
                <a:gd name="connsiteX132" fmla="*/ 631327 w 774600"/>
                <a:gd name="connsiteY132" fmla="*/ 241945 h 259834"/>
                <a:gd name="connsiteX133" fmla="*/ 612572 w 774600"/>
                <a:gd name="connsiteY133" fmla="*/ 219543 h 259834"/>
                <a:gd name="connsiteX134" fmla="*/ 605787 w 774600"/>
                <a:gd name="connsiteY134" fmla="*/ 188283 h 259834"/>
                <a:gd name="connsiteX135" fmla="*/ 647640 w 774600"/>
                <a:gd name="connsiteY135" fmla="*/ 188283 h 259834"/>
                <a:gd name="connsiteX136" fmla="*/ 652859 w 774600"/>
                <a:gd name="connsiteY136" fmla="*/ 208254 h 259834"/>
                <a:gd name="connsiteX137" fmla="*/ 667786 w 774600"/>
                <a:gd name="connsiteY137" fmla="*/ 221624 h 259834"/>
                <a:gd name="connsiteX138" fmla="*/ 690028 w 774600"/>
                <a:gd name="connsiteY138" fmla="*/ 226488 h 259834"/>
                <a:gd name="connsiteX139" fmla="*/ 712767 w 774600"/>
                <a:gd name="connsiteY139" fmla="*/ 221799 h 259834"/>
                <a:gd name="connsiteX140" fmla="*/ 727363 w 774600"/>
                <a:gd name="connsiteY140" fmla="*/ 207904 h 259834"/>
                <a:gd name="connsiteX141" fmla="*/ 732567 w 774600"/>
                <a:gd name="connsiteY141" fmla="*/ 185671 h 259834"/>
                <a:gd name="connsiteX142" fmla="*/ 726847 w 774600"/>
                <a:gd name="connsiteY142" fmla="*/ 161702 h 259834"/>
                <a:gd name="connsiteX143" fmla="*/ 710515 w 774600"/>
                <a:gd name="connsiteY143" fmla="*/ 148157 h 259834"/>
                <a:gd name="connsiteX144" fmla="*/ 685510 w 774600"/>
                <a:gd name="connsiteY144" fmla="*/ 143643 h 259834"/>
                <a:gd name="connsiteX145" fmla="*/ 660505 w 774600"/>
                <a:gd name="connsiteY145" fmla="*/ 143643 h 25983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34">
                  <a:moveTo>
                    <a:pt x="174372" y="223015"/>
                  </a:moveTo>
                  <a:lnTo>
                    <a:pt x="174372" y="256362"/>
                  </a:lnTo>
                  <a:lnTo>
                    <a:pt x="4859" y="256362"/>
                  </a:lnTo>
                  <a:lnTo>
                    <a:pt x="4859" y="227704"/>
                  </a:lnTo>
                  <a:lnTo>
                    <a:pt x="87193" y="137913"/>
                  </a:lnTo>
                  <a:cubicBezTo>
                    <a:pt x="96211" y="127724"/>
                    <a:pt x="103336" y="118925"/>
                    <a:pt x="108541" y="111513"/>
                  </a:cubicBezTo>
                  <a:cubicBezTo>
                    <a:pt x="113760" y="104100"/>
                    <a:pt x="117403" y="97446"/>
                    <a:pt x="119499" y="91542"/>
                  </a:cubicBezTo>
                  <a:cubicBezTo>
                    <a:pt x="121697" y="85520"/>
                    <a:pt x="122797" y="79674"/>
                    <a:pt x="122797" y="73998"/>
                  </a:cubicBezTo>
                  <a:cubicBezTo>
                    <a:pt x="122797" y="66012"/>
                    <a:pt x="121284" y="59003"/>
                    <a:pt x="118278" y="52981"/>
                  </a:cubicBezTo>
                  <a:cubicBezTo>
                    <a:pt x="115374" y="46843"/>
                    <a:pt x="111099" y="42038"/>
                    <a:pt x="105413" y="38565"/>
                  </a:cubicBezTo>
                  <a:cubicBezTo>
                    <a:pt x="99747" y="34976"/>
                    <a:pt x="92860" y="33181"/>
                    <a:pt x="84752" y="33181"/>
                  </a:cubicBezTo>
                  <a:cubicBezTo>
                    <a:pt x="75374" y="33181"/>
                    <a:pt x="67510" y="35209"/>
                    <a:pt x="61138" y="39261"/>
                  </a:cubicBezTo>
                  <a:cubicBezTo>
                    <a:pt x="54766" y="43312"/>
                    <a:pt x="49956" y="48930"/>
                    <a:pt x="46712" y="56109"/>
                  </a:cubicBezTo>
                  <a:cubicBezTo>
                    <a:pt x="43482" y="63171"/>
                    <a:pt x="41853" y="71279"/>
                    <a:pt x="41853" y="80423"/>
                  </a:cubicBezTo>
                  <a:lnTo>
                    <a:pt x="0" y="80423"/>
                  </a:lnTo>
                  <a:cubicBezTo>
                    <a:pt x="0" y="65720"/>
                    <a:pt x="3366" y="52286"/>
                    <a:pt x="10083" y="40131"/>
                  </a:cubicBezTo>
                  <a:cubicBezTo>
                    <a:pt x="16800" y="27860"/>
                    <a:pt x="26517" y="18132"/>
                    <a:pt x="39261" y="10953"/>
                  </a:cubicBezTo>
                  <a:cubicBezTo>
                    <a:pt x="51989" y="3658"/>
                    <a:pt x="67325" y="10"/>
                    <a:pt x="85272" y="10"/>
                  </a:cubicBezTo>
                  <a:cubicBezTo>
                    <a:pt x="102189" y="10"/>
                    <a:pt x="116546" y="2845"/>
                    <a:pt x="128346" y="8521"/>
                  </a:cubicBezTo>
                  <a:cubicBezTo>
                    <a:pt x="140160" y="14193"/>
                    <a:pt x="149129" y="22242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5"/>
                  </a:moveTo>
                  <a:lnTo>
                    <a:pt x="371848" y="150068"/>
                  </a:lnTo>
                  <a:cubicBezTo>
                    <a:pt x="371848" y="169869"/>
                    <a:pt x="369873" y="186770"/>
                    <a:pt x="365938" y="200783"/>
                  </a:cubicBezTo>
                  <a:cubicBezTo>
                    <a:pt x="362125" y="214674"/>
                    <a:pt x="356561" y="225963"/>
                    <a:pt x="349260" y="234650"/>
                  </a:cubicBezTo>
                  <a:cubicBezTo>
                    <a:pt x="341960" y="243332"/>
                    <a:pt x="333219" y="249703"/>
                    <a:pt x="323035" y="253755"/>
                  </a:cubicBezTo>
                  <a:cubicBezTo>
                    <a:pt x="312971" y="257806"/>
                    <a:pt x="301668" y="259834"/>
                    <a:pt x="289168" y="259834"/>
                  </a:cubicBezTo>
                  <a:cubicBezTo>
                    <a:pt x="279221" y="259834"/>
                    <a:pt x="269951" y="258560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80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43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78"/>
                  </a:moveTo>
                  <a:lnTo>
                    <a:pt x="329995" y="102485"/>
                  </a:lnTo>
                  <a:cubicBezTo>
                    <a:pt x="329995" y="92412"/>
                    <a:pt x="329411" y="83555"/>
                    <a:pt x="328258" y="75914"/>
                  </a:cubicBezTo>
                  <a:cubicBezTo>
                    <a:pt x="327091" y="68157"/>
                    <a:pt x="325355" y="61615"/>
                    <a:pt x="323039" y="56289"/>
                  </a:cubicBezTo>
                  <a:cubicBezTo>
                    <a:pt x="320841" y="50846"/>
                    <a:pt x="318059" y="46445"/>
                    <a:pt x="314708" y="43088"/>
                  </a:cubicBezTo>
                  <a:cubicBezTo>
                    <a:pt x="311342" y="39616"/>
                    <a:pt x="307529" y="37125"/>
                    <a:pt x="303234" y="35623"/>
                  </a:cubicBezTo>
                  <a:cubicBezTo>
                    <a:pt x="298959" y="34003"/>
                    <a:pt x="294148" y="33191"/>
                    <a:pt x="288823" y="33191"/>
                  </a:cubicBezTo>
                  <a:cubicBezTo>
                    <a:pt x="282349" y="33191"/>
                    <a:pt x="276542" y="34465"/>
                    <a:pt x="271459" y="37014"/>
                  </a:cubicBezTo>
                  <a:cubicBezTo>
                    <a:pt x="266357" y="39445"/>
                    <a:pt x="262081" y="43380"/>
                    <a:pt x="258613" y="48823"/>
                  </a:cubicBezTo>
                  <a:cubicBezTo>
                    <a:pt x="255126" y="54266"/>
                    <a:pt x="252466" y="61445"/>
                    <a:pt x="250608" y="70360"/>
                  </a:cubicBezTo>
                  <a:cubicBezTo>
                    <a:pt x="248871" y="79159"/>
                    <a:pt x="248015" y="89869"/>
                    <a:pt x="248015" y="102490"/>
                  </a:cubicBezTo>
                  <a:lnTo>
                    <a:pt x="248015" y="155982"/>
                  </a:lnTo>
                  <a:cubicBezTo>
                    <a:pt x="248015" y="166172"/>
                    <a:pt x="248584" y="175146"/>
                    <a:pt x="249752" y="182904"/>
                  </a:cubicBezTo>
                  <a:cubicBezTo>
                    <a:pt x="250904" y="190661"/>
                    <a:pt x="252636" y="197320"/>
                    <a:pt x="254956" y="202874"/>
                  </a:cubicBezTo>
                  <a:cubicBezTo>
                    <a:pt x="257276" y="208317"/>
                    <a:pt x="260058" y="212831"/>
                    <a:pt x="263302" y="216420"/>
                  </a:cubicBezTo>
                  <a:cubicBezTo>
                    <a:pt x="266653" y="219893"/>
                    <a:pt x="270481" y="222441"/>
                    <a:pt x="274756" y="224061"/>
                  </a:cubicBezTo>
                  <a:cubicBezTo>
                    <a:pt x="279153" y="225681"/>
                    <a:pt x="283964" y="226493"/>
                    <a:pt x="289168" y="226493"/>
                  </a:cubicBezTo>
                  <a:cubicBezTo>
                    <a:pt x="295778" y="226493"/>
                    <a:pt x="301619" y="225219"/>
                    <a:pt x="306721" y="222670"/>
                  </a:cubicBezTo>
                  <a:cubicBezTo>
                    <a:pt x="311804" y="220121"/>
                    <a:pt x="316099" y="216070"/>
                    <a:pt x="319567" y="210511"/>
                  </a:cubicBezTo>
                  <a:cubicBezTo>
                    <a:pt x="323035" y="204839"/>
                    <a:pt x="325646" y="197485"/>
                    <a:pt x="327383" y="188453"/>
                  </a:cubicBezTo>
                  <a:cubicBezTo>
                    <a:pt x="329119" y="179421"/>
                    <a:pt x="329995" y="168594"/>
                    <a:pt x="329995" y="155978"/>
                  </a:cubicBezTo>
                  <a:close/>
                  <a:moveTo>
                    <a:pt x="578701" y="223015"/>
                  </a:moveTo>
                  <a:lnTo>
                    <a:pt x="578701" y="256362"/>
                  </a:lnTo>
                  <a:lnTo>
                    <a:pt x="409187" y="256362"/>
                  </a:lnTo>
                  <a:lnTo>
                    <a:pt x="409187" y="227704"/>
                  </a:lnTo>
                  <a:lnTo>
                    <a:pt x="491507" y="137913"/>
                  </a:lnTo>
                  <a:cubicBezTo>
                    <a:pt x="500539" y="127724"/>
                    <a:pt x="507670" y="118925"/>
                    <a:pt x="512874" y="111513"/>
                  </a:cubicBezTo>
                  <a:cubicBezTo>
                    <a:pt x="518078" y="104100"/>
                    <a:pt x="521736" y="97446"/>
                    <a:pt x="523813" y="91542"/>
                  </a:cubicBezTo>
                  <a:cubicBezTo>
                    <a:pt x="526011" y="85520"/>
                    <a:pt x="527110" y="79674"/>
                    <a:pt x="527110" y="73998"/>
                  </a:cubicBezTo>
                  <a:cubicBezTo>
                    <a:pt x="527110" y="66012"/>
                    <a:pt x="525617" y="59003"/>
                    <a:pt x="522592" y="52981"/>
                  </a:cubicBezTo>
                  <a:cubicBezTo>
                    <a:pt x="519708" y="46843"/>
                    <a:pt x="515413" y="42038"/>
                    <a:pt x="509746" y="38565"/>
                  </a:cubicBezTo>
                  <a:cubicBezTo>
                    <a:pt x="504080" y="34976"/>
                    <a:pt x="497193" y="33181"/>
                    <a:pt x="489085" y="33181"/>
                  </a:cubicBezTo>
                  <a:cubicBezTo>
                    <a:pt x="479708" y="33181"/>
                    <a:pt x="471823" y="35209"/>
                    <a:pt x="465452" y="39261"/>
                  </a:cubicBezTo>
                  <a:cubicBezTo>
                    <a:pt x="459095" y="43312"/>
                    <a:pt x="454289" y="48930"/>
                    <a:pt x="451040" y="56109"/>
                  </a:cubicBezTo>
                  <a:cubicBezTo>
                    <a:pt x="447796" y="63171"/>
                    <a:pt x="446181" y="71279"/>
                    <a:pt x="446181" y="80423"/>
                  </a:cubicBezTo>
                  <a:lnTo>
                    <a:pt x="404328" y="80423"/>
                  </a:lnTo>
                  <a:cubicBezTo>
                    <a:pt x="404328" y="65720"/>
                    <a:pt x="407679" y="52286"/>
                    <a:pt x="414391" y="40131"/>
                  </a:cubicBezTo>
                  <a:cubicBezTo>
                    <a:pt x="421108" y="27860"/>
                    <a:pt x="430846" y="18132"/>
                    <a:pt x="443569" y="10953"/>
                  </a:cubicBezTo>
                  <a:cubicBezTo>
                    <a:pt x="456313" y="3658"/>
                    <a:pt x="471648" y="10"/>
                    <a:pt x="489596" y="10"/>
                  </a:cubicBezTo>
                  <a:cubicBezTo>
                    <a:pt x="506497" y="10"/>
                    <a:pt x="520855" y="2845"/>
                    <a:pt x="532670" y="8521"/>
                  </a:cubicBezTo>
                  <a:cubicBezTo>
                    <a:pt x="544484" y="14193"/>
                    <a:pt x="553453" y="22242"/>
                    <a:pt x="559581" y="32660"/>
                  </a:cubicBezTo>
                  <a:cubicBezTo>
                    <a:pt x="565831" y="43079"/>
                    <a:pt x="568958" y="55413"/>
                    <a:pt x="568958" y="69655"/>
                  </a:cubicBezTo>
                  <a:cubicBezTo>
                    <a:pt x="568958" y="77529"/>
                    <a:pt x="567689" y="85345"/>
                    <a:pt x="565145" y="93103"/>
                  </a:cubicBezTo>
                  <a:cubicBezTo>
                    <a:pt x="562601" y="100861"/>
                    <a:pt x="558944" y="108619"/>
                    <a:pt x="554207" y="116376"/>
                  </a:cubicBezTo>
                  <a:cubicBezTo>
                    <a:pt x="549571" y="124017"/>
                    <a:pt x="544075" y="131717"/>
                    <a:pt x="537704" y="139475"/>
                  </a:cubicBezTo>
                  <a:cubicBezTo>
                    <a:pt x="531332" y="147116"/>
                    <a:pt x="524323" y="154873"/>
                    <a:pt x="516697" y="162748"/>
                  </a:cubicBezTo>
                  <a:lnTo>
                    <a:pt x="461979" y="223015"/>
                  </a:lnTo>
                  <a:lnTo>
                    <a:pt x="578701" y="223015"/>
                  </a:lnTo>
                  <a:close/>
                  <a:moveTo>
                    <a:pt x="660505" y="110992"/>
                  </a:moveTo>
                  <a:lnTo>
                    <a:pt x="685510" y="110992"/>
                  </a:lnTo>
                  <a:cubicBezTo>
                    <a:pt x="695233" y="110992"/>
                    <a:pt x="703287" y="109314"/>
                    <a:pt x="709639" y="105953"/>
                  </a:cubicBezTo>
                  <a:cubicBezTo>
                    <a:pt x="716132" y="102597"/>
                    <a:pt x="720943" y="97962"/>
                    <a:pt x="724065" y="92057"/>
                  </a:cubicBezTo>
                  <a:cubicBezTo>
                    <a:pt x="727188" y="86153"/>
                    <a:pt x="728754" y="79377"/>
                    <a:pt x="728754" y="71736"/>
                  </a:cubicBezTo>
                  <a:cubicBezTo>
                    <a:pt x="728754" y="64095"/>
                    <a:pt x="727295" y="56916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84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71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31"/>
                  </a:cubicBezTo>
                  <a:cubicBezTo>
                    <a:pt x="770777" y="78910"/>
                    <a:pt x="769094" y="86206"/>
                    <a:pt x="765743" y="93614"/>
                  </a:cubicBezTo>
                  <a:cubicBezTo>
                    <a:pt x="762378" y="101026"/>
                    <a:pt x="757397" y="107797"/>
                    <a:pt x="750802" y="113935"/>
                  </a:cubicBezTo>
                  <a:cubicBezTo>
                    <a:pt x="744206" y="119956"/>
                    <a:pt x="735982" y="124873"/>
                    <a:pt x="726137" y="128696"/>
                  </a:cubicBezTo>
                  <a:cubicBezTo>
                    <a:pt x="716298" y="132403"/>
                    <a:pt x="704892" y="134256"/>
                    <a:pt x="691925" y="134256"/>
                  </a:cubicBezTo>
                  <a:lnTo>
                    <a:pt x="660495" y="134256"/>
                  </a:lnTo>
                  <a:lnTo>
                    <a:pt x="660495" y="110982"/>
                  </a:lnTo>
                  <a:close/>
                  <a:moveTo>
                    <a:pt x="660505" y="143643"/>
                  </a:moveTo>
                  <a:lnTo>
                    <a:pt x="660505" y="120715"/>
                  </a:lnTo>
                  <a:lnTo>
                    <a:pt x="691935" y="120715"/>
                  </a:lnTo>
                  <a:cubicBezTo>
                    <a:pt x="706755" y="120715"/>
                    <a:pt x="719381" y="122451"/>
                    <a:pt x="729790" y="125924"/>
                  </a:cubicBezTo>
                  <a:cubicBezTo>
                    <a:pt x="740335" y="129397"/>
                    <a:pt x="748905" y="134202"/>
                    <a:pt x="755500" y="140340"/>
                  </a:cubicBezTo>
                  <a:cubicBezTo>
                    <a:pt x="762095" y="146362"/>
                    <a:pt x="766906" y="153249"/>
                    <a:pt x="769911" y="161007"/>
                  </a:cubicBezTo>
                  <a:cubicBezTo>
                    <a:pt x="773039" y="168764"/>
                    <a:pt x="774600" y="176984"/>
                    <a:pt x="774600" y="185671"/>
                  </a:cubicBezTo>
                  <a:cubicBezTo>
                    <a:pt x="774600" y="197480"/>
                    <a:pt x="772470" y="208015"/>
                    <a:pt x="768175" y="217281"/>
                  </a:cubicBezTo>
                  <a:cubicBezTo>
                    <a:pt x="764016" y="226430"/>
                    <a:pt x="758044" y="234188"/>
                    <a:pt x="750296" y="240554"/>
                  </a:cubicBezTo>
                  <a:cubicBezTo>
                    <a:pt x="742533" y="246921"/>
                    <a:pt x="733447" y="251726"/>
                    <a:pt x="723024" y="254971"/>
                  </a:cubicBezTo>
                  <a:cubicBezTo>
                    <a:pt x="712718" y="258215"/>
                    <a:pt x="701487" y="259834"/>
                    <a:pt x="689328" y="259834"/>
                  </a:cubicBezTo>
                  <a:cubicBezTo>
                    <a:pt x="678457" y="259834"/>
                    <a:pt x="668029" y="258327"/>
                    <a:pt x="658068" y="255316"/>
                  </a:cubicBezTo>
                  <a:cubicBezTo>
                    <a:pt x="648107" y="252305"/>
                    <a:pt x="639192" y="247850"/>
                    <a:pt x="631327" y="241945"/>
                  </a:cubicBezTo>
                  <a:cubicBezTo>
                    <a:pt x="623443" y="235924"/>
                    <a:pt x="617193" y="228458"/>
                    <a:pt x="612572" y="219543"/>
                  </a:cubicBezTo>
                  <a:cubicBezTo>
                    <a:pt x="608054" y="210511"/>
                    <a:pt x="605787" y="200092"/>
                    <a:pt x="605787" y="188283"/>
                  </a:cubicBezTo>
                  <a:lnTo>
                    <a:pt x="647640" y="188283"/>
                  </a:lnTo>
                  <a:cubicBezTo>
                    <a:pt x="647640" y="195807"/>
                    <a:pt x="649377" y="202466"/>
                    <a:pt x="652859" y="208254"/>
                  </a:cubicBezTo>
                  <a:cubicBezTo>
                    <a:pt x="656449" y="213925"/>
                    <a:pt x="661429" y="218385"/>
                    <a:pt x="667786" y="221624"/>
                  </a:cubicBezTo>
                  <a:cubicBezTo>
                    <a:pt x="674279" y="224869"/>
                    <a:pt x="681682" y="226488"/>
                    <a:pt x="690028" y="226488"/>
                  </a:cubicBezTo>
                  <a:cubicBezTo>
                    <a:pt x="698822" y="226488"/>
                    <a:pt x="706415" y="224927"/>
                    <a:pt x="712767" y="221799"/>
                  </a:cubicBezTo>
                  <a:cubicBezTo>
                    <a:pt x="719138" y="218672"/>
                    <a:pt x="723997" y="214042"/>
                    <a:pt x="727363" y="207904"/>
                  </a:cubicBezTo>
                  <a:cubicBezTo>
                    <a:pt x="730831" y="201765"/>
                    <a:pt x="732567" y="194358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rgbClr val="EE343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Полилиния: фигура 12">
              <a:extLst>
                <a:ext uri="{FF2B5EF4-FFF2-40B4-BE49-F238E27FC236}">
                  <a16:creationId xmlns:a16="http://schemas.microsoft.com/office/drawing/2014/main" id="{A74393C3-8334-45AE-A1C2-B38DC4560413}"/>
                </a:ext>
              </a:extLst>
            </p:cNvPr>
            <p:cNvSpPr/>
            <p:nvPr/>
          </p:nvSpPr>
          <p:spPr>
            <a:xfrm>
              <a:off x="8902858" y="5870060"/>
              <a:ext cx="774600" cy="259829"/>
            </a:xfrm>
            <a:custGeom>
              <a:avLst/>
              <a:gdLst>
                <a:gd name="connsiteX0" fmla="*/ 174372 w 774600"/>
                <a:gd name="connsiteY0" fmla="*/ 223011 h 259829"/>
                <a:gd name="connsiteX1" fmla="*/ 174372 w 774600"/>
                <a:gd name="connsiteY1" fmla="*/ 256357 h 259829"/>
                <a:gd name="connsiteX2" fmla="*/ 4859 w 774600"/>
                <a:gd name="connsiteY2" fmla="*/ 256357 h 259829"/>
                <a:gd name="connsiteX3" fmla="*/ 4859 w 774600"/>
                <a:gd name="connsiteY3" fmla="*/ 227699 h 259829"/>
                <a:gd name="connsiteX4" fmla="*/ 87193 w 774600"/>
                <a:gd name="connsiteY4" fmla="*/ 137908 h 259829"/>
                <a:gd name="connsiteX5" fmla="*/ 108541 w 774600"/>
                <a:gd name="connsiteY5" fmla="*/ 111508 h 259829"/>
                <a:gd name="connsiteX6" fmla="*/ 119499 w 774600"/>
                <a:gd name="connsiteY6" fmla="*/ 91537 h 259829"/>
                <a:gd name="connsiteX7" fmla="*/ 122797 w 774600"/>
                <a:gd name="connsiteY7" fmla="*/ 73993 h 259829"/>
                <a:gd name="connsiteX8" fmla="*/ 118278 w 774600"/>
                <a:gd name="connsiteY8" fmla="*/ 52977 h 259829"/>
                <a:gd name="connsiteX9" fmla="*/ 105413 w 774600"/>
                <a:gd name="connsiteY9" fmla="*/ 38560 h 259829"/>
                <a:gd name="connsiteX10" fmla="*/ 84752 w 774600"/>
                <a:gd name="connsiteY10" fmla="*/ 33176 h 259829"/>
                <a:gd name="connsiteX11" fmla="*/ 61138 w 774600"/>
                <a:gd name="connsiteY11" fmla="*/ 39256 h 259829"/>
                <a:gd name="connsiteX12" fmla="*/ 46712 w 774600"/>
                <a:gd name="connsiteY12" fmla="*/ 56104 h 259829"/>
                <a:gd name="connsiteX13" fmla="*/ 41853 w 774600"/>
                <a:gd name="connsiteY13" fmla="*/ 80418 h 259829"/>
                <a:gd name="connsiteX14" fmla="*/ 0 w 774600"/>
                <a:gd name="connsiteY14" fmla="*/ 80418 h 259829"/>
                <a:gd name="connsiteX15" fmla="*/ 10083 w 774600"/>
                <a:gd name="connsiteY15" fmla="*/ 40126 h 259829"/>
                <a:gd name="connsiteX16" fmla="*/ 39261 w 774600"/>
                <a:gd name="connsiteY16" fmla="*/ 10948 h 259829"/>
                <a:gd name="connsiteX17" fmla="*/ 85272 w 774600"/>
                <a:gd name="connsiteY17" fmla="*/ 5 h 259829"/>
                <a:gd name="connsiteX18" fmla="*/ 128346 w 774600"/>
                <a:gd name="connsiteY18" fmla="*/ 8517 h 259829"/>
                <a:gd name="connsiteX19" fmla="*/ 155277 w 774600"/>
                <a:gd name="connsiteY19" fmla="*/ 32660 h 259829"/>
                <a:gd name="connsiteX20" fmla="*/ 164654 w 774600"/>
                <a:gd name="connsiteY20" fmla="*/ 69655 h 259829"/>
                <a:gd name="connsiteX21" fmla="*/ 160827 w 774600"/>
                <a:gd name="connsiteY21" fmla="*/ 93103 h 259829"/>
                <a:gd name="connsiteX22" fmla="*/ 149888 w 774600"/>
                <a:gd name="connsiteY22" fmla="*/ 116376 h 259829"/>
                <a:gd name="connsiteX23" fmla="*/ 133400 w 774600"/>
                <a:gd name="connsiteY23" fmla="*/ 139475 h 259829"/>
                <a:gd name="connsiteX24" fmla="*/ 112378 w 774600"/>
                <a:gd name="connsiteY24" fmla="*/ 162748 h 259829"/>
                <a:gd name="connsiteX25" fmla="*/ 57675 w 774600"/>
                <a:gd name="connsiteY25" fmla="*/ 223015 h 259829"/>
                <a:gd name="connsiteX26" fmla="*/ 174377 w 774600"/>
                <a:gd name="connsiteY26" fmla="*/ 223015 h 259829"/>
                <a:gd name="connsiteX27" fmla="*/ 371848 w 774600"/>
                <a:gd name="connsiteY27" fmla="*/ 108730 h 259829"/>
                <a:gd name="connsiteX28" fmla="*/ 371848 w 774600"/>
                <a:gd name="connsiteY28" fmla="*/ 150063 h 259829"/>
                <a:gd name="connsiteX29" fmla="*/ 365938 w 774600"/>
                <a:gd name="connsiteY29" fmla="*/ 200778 h 259829"/>
                <a:gd name="connsiteX30" fmla="*/ 349260 w 774600"/>
                <a:gd name="connsiteY30" fmla="*/ 234645 h 259829"/>
                <a:gd name="connsiteX31" fmla="*/ 323035 w 774600"/>
                <a:gd name="connsiteY31" fmla="*/ 253750 h 259829"/>
                <a:gd name="connsiteX32" fmla="*/ 289168 w 774600"/>
                <a:gd name="connsiteY32" fmla="*/ 259830 h 259829"/>
                <a:gd name="connsiteX33" fmla="*/ 261381 w 774600"/>
                <a:gd name="connsiteY33" fmla="*/ 256011 h 259829"/>
                <a:gd name="connsiteX34" fmla="*/ 238468 w 774600"/>
                <a:gd name="connsiteY34" fmla="*/ 244027 h 259829"/>
                <a:gd name="connsiteX35" fmla="*/ 220914 w 774600"/>
                <a:gd name="connsiteY35" fmla="*/ 223011 h 259829"/>
                <a:gd name="connsiteX36" fmla="*/ 209800 w 774600"/>
                <a:gd name="connsiteY36" fmla="*/ 191921 h 259829"/>
                <a:gd name="connsiteX37" fmla="*/ 205972 w 774600"/>
                <a:gd name="connsiteY37" fmla="*/ 150063 h 259829"/>
                <a:gd name="connsiteX38" fmla="*/ 205972 w 774600"/>
                <a:gd name="connsiteY38" fmla="*/ 108730 h 259829"/>
                <a:gd name="connsiteX39" fmla="*/ 211882 w 774600"/>
                <a:gd name="connsiteY39" fmla="*/ 58366 h 259829"/>
                <a:gd name="connsiteX40" fmla="*/ 228730 w 774600"/>
                <a:gd name="connsiteY40" fmla="*/ 24844 h 259829"/>
                <a:gd name="connsiteX41" fmla="*/ 254786 w 774600"/>
                <a:gd name="connsiteY41" fmla="*/ 5914 h 259829"/>
                <a:gd name="connsiteX42" fmla="*/ 288827 w 774600"/>
                <a:gd name="connsiteY42" fmla="*/ 10 h 259829"/>
                <a:gd name="connsiteX43" fmla="*/ 316614 w 774600"/>
                <a:gd name="connsiteY43" fmla="*/ 3833 h 259829"/>
                <a:gd name="connsiteX44" fmla="*/ 339542 w 774600"/>
                <a:gd name="connsiteY44" fmla="*/ 15467 h 259829"/>
                <a:gd name="connsiteX45" fmla="*/ 356906 w 774600"/>
                <a:gd name="connsiteY45" fmla="*/ 36308 h 259829"/>
                <a:gd name="connsiteX46" fmla="*/ 368020 w 774600"/>
                <a:gd name="connsiteY46" fmla="*/ 67048 h 259829"/>
                <a:gd name="connsiteX47" fmla="*/ 371848 w 774600"/>
                <a:gd name="connsiteY47" fmla="*/ 108730 h 259829"/>
                <a:gd name="connsiteX48" fmla="*/ 329995 w 774600"/>
                <a:gd name="connsiteY48" fmla="*/ 155968 h 259829"/>
                <a:gd name="connsiteX49" fmla="*/ 329995 w 774600"/>
                <a:gd name="connsiteY49" fmla="*/ 102476 h 259829"/>
                <a:gd name="connsiteX50" fmla="*/ 328258 w 774600"/>
                <a:gd name="connsiteY50" fmla="*/ 75905 h 259829"/>
                <a:gd name="connsiteX51" fmla="*/ 323039 w 774600"/>
                <a:gd name="connsiteY51" fmla="*/ 56279 h 259829"/>
                <a:gd name="connsiteX52" fmla="*/ 314708 w 774600"/>
                <a:gd name="connsiteY52" fmla="*/ 43079 h 259829"/>
                <a:gd name="connsiteX53" fmla="*/ 303234 w 774600"/>
                <a:gd name="connsiteY53" fmla="*/ 35613 h 259829"/>
                <a:gd name="connsiteX54" fmla="*/ 288823 w 774600"/>
                <a:gd name="connsiteY54" fmla="*/ 33181 h 259829"/>
                <a:gd name="connsiteX55" fmla="*/ 271459 w 774600"/>
                <a:gd name="connsiteY55" fmla="*/ 37004 h 259829"/>
                <a:gd name="connsiteX56" fmla="*/ 258613 w 774600"/>
                <a:gd name="connsiteY56" fmla="*/ 48813 h 259829"/>
                <a:gd name="connsiteX57" fmla="*/ 250608 w 774600"/>
                <a:gd name="connsiteY57" fmla="*/ 70350 h 259829"/>
                <a:gd name="connsiteX58" fmla="*/ 248015 w 774600"/>
                <a:gd name="connsiteY58" fmla="*/ 102480 h 259829"/>
                <a:gd name="connsiteX59" fmla="*/ 248015 w 774600"/>
                <a:gd name="connsiteY59" fmla="*/ 155973 h 259829"/>
                <a:gd name="connsiteX60" fmla="*/ 249752 w 774600"/>
                <a:gd name="connsiteY60" fmla="*/ 182894 h 259829"/>
                <a:gd name="connsiteX61" fmla="*/ 254956 w 774600"/>
                <a:gd name="connsiteY61" fmla="*/ 202865 h 259829"/>
                <a:gd name="connsiteX62" fmla="*/ 263302 w 774600"/>
                <a:gd name="connsiteY62" fmla="*/ 216410 h 259829"/>
                <a:gd name="connsiteX63" fmla="*/ 274756 w 774600"/>
                <a:gd name="connsiteY63" fmla="*/ 224051 h 259829"/>
                <a:gd name="connsiteX64" fmla="*/ 289168 w 774600"/>
                <a:gd name="connsiteY64" fmla="*/ 226483 h 259829"/>
                <a:gd name="connsiteX65" fmla="*/ 306721 w 774600"/>
                <a:gd name="connsiteY65" fmla="*/ 222660 h 259829"/>
                <a:gd name="connsiteX66" fmla="*/ 319567 w 774600"/>
                <a:gd name="connsiteY66" fmla="*/ 210501 h 259829"/>
                <a:gd name="connsiteX67" fmla="*/ 327383 w 774600"/>
                <a:gd name="connsiteY67" fmla="*/ 188443 h 259829"/>
                <a:gd name="connsiteX68" fmla="*/ 329995 w 774600"/>
                <a:gd name="connsiteY68" fmla="*/ 155963 h 259829"/>
                <a:gd name="connsiteX69" fmla="*/ 578701 w 774600"/>
                <a:gd name="connsiteY69" fmla="*/ 223006 h 259829"/>
                <a:gd name="connsiteX70" fmla="*/ 578701 w 774600"/>
                <a:gd name="connsiteY70" fmla="*/ 256352 h 259829"/>
                <a:gd name="connsiteX71" fmla="*/ 409187 w 774600"/>
                <a:gd name="connsiteY71" fmla="*/ 256352 h 259829"/>
                <a:gd name="connsiteX72" fmla="*/ 409187 w 774600"/>
                <a:gd name="connsiteY72" fmla="*/ 227694 h 259829"/>
                <a:gd name="connsiteX73" fmla="*/ 491507 w 774600"/>
                <a:gd name="connsiteY73" fmla="*/ 137904 h 259829"/>
                <a:gd name="connsiteX74" fmla="*/ 512874 w 774600"/>
                <a:gd name="connsiteY74" fmla="*/ 111503 h 259829"/>
                <a:gd name="connsiteX75" fmla="*/ 523813 w 774600"/>
                <a:gd name="connsiteY75" fmla="*/ 91532 h 259829"/>
                <a:gd name="connsiteX76" fmla="*/ 527110 w 774600"/>
                <a:gd name="connsiteY76" fmla="*/ 73988 h 259829"/>
                <a:gd name="connsiteX77" fmla="*/ 522592 w 774600"/>
                <a:gd name="connsiteY77" fmla="*/ 52972 h 259829"/>
                <a:gd name="connsiteX78" fmla="*/ 509746 w 774600"/>
                <a:gd name="connsiteY78" fmla="*/ 38555 h 259829"/>
                <a:gd name="connsiteX79" fmla="*/ 489085 w 774600"/>
                <a:gd name="connsiteY79" fmla="*/ 33171 h 259829"/>
                <a:gd name="connsiteX80" fmla="*/ 465452 w 774600"/>
                <a:gd name="connsiteY80" fmla="*/ 39251 h 259829"/>
                <a:gd name="connsiteX81" fmla="*/ 451040 w 774600"/>
                <a:gd name="connsiteY81" fmla="*/ 56099 h 259829"/>
                <a:gd name="connsiteX82" fmla="*/ 446181 w 774600"/>
                <a:gd name="connsiteY82" fmla="*/ 80413 h 259829"/>
                <a:gd name="connsiteX83" fmla="*/ 404328 w 774600"/>
                <a:gd name="connsiteY83" fmla="*/ 80413 h 259829"/>
                <a:gd name="connsiteX84" fmla="*/ 414391 w 774600"/>
                <a:gd name="connsiteY84" fmla="*/ 40122 h 259829"/>
                <a:gd name="connsiteX85" fmla="*/ 443569 w 774600"/>
                <a:gd name="connsiteY85" fmla="*/ 10944 h 259829"/>
                <a:gd name="connsiteX86" fmla="*/ 489596 w 774600"/>
                <a:gd name="connsiteY86" fmla="*/ 0 h 259829"/>
                <a:gd name="connsiteX87" fmla="*/ 532670 w 774600"/>
                <a:gd name="connsiteY87" fmla="*/ 8512 h 259829"/>
                <a:gd name="connsiteX88" fmla="*/ 559581 w 774600"/>
                <a:gd name="connsiteY88" fmla="*/ 32656 h 259829"/>
                <a:gd name="connsiteX89" fmla="*/ 568958 w 774600"/>
                <a:gd name="connsiteY89" fmla="*/ 69650 h 259829"/>
                <a:gd name="connsiteX90" fmla="*/ 565145 w 774600"/>
                <a:gd name="connsiteY90" fmla="*/ 93098 h 259829"/>
                <a:gd name="connsiteX91" fmla="*/ 554207 w 774600"/>
                <a:gd name="connsiteY91" fmla="*/ 116372 h 259829"/>
                <a:gd name="connsiteX92" fmla="*/ 537704 w 774600"/>
                <a:gd name="connsiteY92" fmla="*/ 139470 h 259829"/>
                <a:gd name="connsiteX93" fmla="*/ 516697 w 774600"/>
                <a:gd name="connsiteY93" fmla="*/ 162743 h 259829"/>
                <a:gd name="connsiteX94" fmla="*/ 461979 w 774600"/>
                <a:gd name="connsiteY94" fmla="*/ 223011 h 259829"/>
                <a:gd name="connsiteX95" fmla="*/ 578701 w 774600"/>
                <a:gd name="connsiteY95" fmla="*/ 223011 h 259829"/>
                <a:gd name="connsiteX96" fmla="*/ 660505 w 774600"/>
                <a:gd name="connsiteY96" fmla="*/ 110982 h 259829"/>
                <a:gd name="connsiteX97" fmla="*/ 685510 w 774600"/>
                <a:gd name="connsiteY97" fmla="*/ 110982 h 259829"/>
                <a:gd name="connsiteX98" fmla="*/ 709639 w 774600"/>
                <a:gd name="connsiteY98" fmla="*/ 105948 h 259829"/>
                <a:gd name="connsiteX99" fmla="*/ 724065 w 774600"/>
                <a:gd name="connsiteY99" fmla="*/ 92052 h 259829"/>
                <a:gd name="connsiteX100" fmla="*/ 728754 w 774600"/>
                <a:gd name="connsiteY100" fmla="*/ 71731 h 259829"/>
                <a:gd name="connsiteX101" fmla="*/ 724411 w 774600"/>
                <a:gd name="connsiteY101" fmla="*/ 51240 h 259829"/>
                <a:gd name="connsiteX102" fmla="*/ 711565 w 774600"/>
                <a:gd name="connsiteY102" fmla="*/ 37865 h 259829"/>
                <a:gd name="connsiteX103" fmla="*/ 689858 w 774600"/>
                <a:gd name="connsiteY103" fmla="*/ 33176 h 259829"/>
                <a:gd name="connsiteX104" fmla="*/ 669712 w 774600"/>
                <a:gd name="connsiteY104" fmla="*/ 37690 h 259829"/>
                <a:gd name="connsiteX105" fmla="*/ 655626 w 774600"/>
                <a:gd name="connsiteY105" fmla="*/ 50195 h 259829"/>
                <a:gd name="connsiteX106" fmla="*/ 650422 w 774600"/>
                <a:gd name="connsiteY106" fmla="*/ 69300 h 259829"/>
                <a:gd name="connsiteX107" fmla="*/ 608394 w 774600"/>
                <a:gd name="connsiteY107" fmla="*/ 69300 h 259829"/>
                <a:gd name="connsiteX108" fmla="*/ 618992 w 774600"/>
                <a:gd name="connsiteY108" fmla="*/ 33521 h 259829"/>
                <a:gd name="connsiteX109" fmla="*/ 647810 w 774600"/>
                <a:gd name="connsiteY109" fmla="*/ 9032 h 259829"/>
                <a:gd name="connsiteX110" fmla="*/ 689148 w 774600"/>
                <a:gd name="connsiteY110" fmla="*/ 0 h 259829"/>
                <a:gd name="connsiteX111" fmla="*/ 731876 w 774600"/>
                <a:gd name="connsiteY111" fmla="*/ 8161 h 259829"/>
                <a:gd name="connsiteX112" fmla="*/ 760524 w 774600"/>
                <a:gd name="connsiteY112" fmla="*/ 32130 h 259829"/>
                <a:gd name="connsiteX113" fmla="*/ 770777 w 774600"/>
                <a:gd name="connsiteY113" fmla="*/ 71727 h 259829"/>
                <a:gd name="connsiteX114" fmla="*/ 765743 w 774600"/>
                <a:gd name="connsiteY114" fmla="*/ 93609 h 259829"/>
                <a:gd name="connsiteX115" fmla="*/ 750802 w 774600"/>
                <a:gd name="connsiteY115" fmla="*/ 113930 h 259829"/>
                <a:gd name="connsiteX116" fmla="*/ 726137 w 774600"/>
                <a:gd name="connsiteY116" fmla="*/ 128692 h 259829"/>
                <a:gd name="connsiteX117" fmla="*/ 691925 w 774600"/>
                <a:gd name="connsiteY117" fmla="*/ 134251 h 259829"/>
                <a:gd name="connsiteX118" fmla="*/ 660495 w 774600"/>
                <a:gd name="connsiteY118" fmla="*/ 134251 h 259829"/>
                <a:gd name="connsiteX119" fmla="*/ 660495 w 774600"/>
                <a:gd name="connsiteY119" fmla="*/ 110978 h 259829"/>
                <a:gd name="connsiteX120" fmla="*/ 660505 w 774600"/>
                <a:gd name="connsiteY120" fmla="*/ 143633 h 259829"/>
                <a:gd name="connsiteX121" fmla="*/ 660505 w 774600"/>
                <a:gd name="connsiteY121" fmla="*/ 120705 h 259829"/>
                <a:gd name="connsiteX122" fmla="*/ 691935 w 774600"/>
                <a:gd name="connsiteY122" fmla="*/ 120705 h 259829"/>
                <a:gd name="connsiteX123" fmla="*/ 729790 w 774600"/>
                <a:gd name="connsiteY123" fmla="*/ 125914 h 259829"/>
                <a:gd name="connsiteX124" fmla="*/ 755500 w 774600"/>
                <a:gd name="connsiteY124" fmla="*/ 140331 h 259829"/>
                <a:gd name="connsiteX125" fmla="*/ 769911 w 774600"/>
                <a:gd name="connsiteY125" fmla="*/ 160997 h 259829"/>
                <a:gd name="connsiteX126" fmla="*/ 774600 w 774600"/>
                <a:gd name="connsiteY126" fmla="*/ 185661 h 259829"/>
                <a:gd name="connsiteX127" fmla="*/ 768175 w 774600"/>
                <a:gd name="connsiteY127" fmla="*/ 217271 h 259829"/>
                <a:gd name="connsiteX128" fmla="*/ 750296 w 774600"/>
                <a:gd name="connsiteY128" fmla="*/ 240545 h 259829"/>
                <a:gd name="connsiteX129" fmla="*/ 723024 w 774600"/>
                <a:gd name="connsiteY129" fmla="*/ 254961 h 259829"/>
                <a:gd name="connsiteX130" fmla="*/ 689328 w 774600"/>
                <a:gd name="connsiteY130" fmla="*/ 259825 h 259829"/>
                <a:gd name="connsiteX131" fmla="*/ 658068 w 774600"/>
                <a:gd name="connsiteY131" fmla="*/ 255311 h 259829"/>
                <a:gd name="connsiteX132" fmla="*/ 631327 w 774600"/>
                <a:gd name="connsiteY132" fmla="*/ 241940 h 259829"/>
                <a:gd name="connsiteX133" fmla="*/ 612572 w 774600"/>
                <a:gd name="connsiteY133" fmla="*/ 219538 h 259829"/>
                <a:gd name="connsiteX134" fmla="*/ 605787 w 774600"/>
                <a:gd name="connsiteY134" fmla="*/ 188273 h 259829"/>
                <a:gd name="connsiteX135" fmla="*/ 647640 w 774600"/>
                <a:gd name="connsiteY135" fmla="*/ 188273 h 259829"/>
                <a:gd name="connsiteX136" fmla="*/ 652859 w 774600"/>
                <a:gd name="connsiteY136" fmla="*/ 208249 h 259829"/>
                <a:gd name="connsiteX137" fmla="*/ 667786 w 774600"/>
                <a:gd name="connsiteY137" fmla="*/ 221619 h 259829"/>
                <a:gd name="connsiteX138" fmla="*/ 690028 w 774600"/>
                <a:gd name="connsiteY138" fmla="*/ 226483 h 259829"/>
                <a:gd name="connsiteX139" fmla="*/ 712767 w 774600"/>
                <a:gd name="connsiteY139" fmla="*/ 221795 h 259829"/>
                <a:gd name="connsiteX140" fmla="*/ 727363 w 774600"/>
                <a:gd name="connsiteY140" fmla="*/ 207899 h 259829"/>
                <a:gd name="connsiteX141" fmla="*/ 732567 w 774600"/>
                <a:gd name="connsiteY141" fmla="*/ 185671 h 259829"/>
                <a:gd name="connsiteX142" fmla="*/ 726847 w 774600"/>
                <a:gd name="connsiteY142" fmla="*/ 161702 h 259829"/>
                <a:gd name="connsiteX143" fmla="*/ 710515 w 774600"/>
                <a:gd name="connsiteY143" fmla="*/ 148157 h 259829"/>
                <a:gd name="connsiteX144" fmla="*/ 685510 w 774600"/>
                <a:gd name="connsiteY144" fmla="*/ 143643 h 259829"/>
                <a:gd name="connsiteX145" fmla="*/ 660505 w 774600"/>
                <a:gd name="connsiteY145" fmla="*/ 143643 h 25982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</a:cxnLst>
              <a:rect l="l" t="t" r="r" b="b"/>
              <a:pathLst>
                <a:path w="774600" h="259829">
                  <a:moveTo>
                    <a:pt x="174372" y="223011"/>
                  </a:moveTo>
                  <a:lnTo>
                    <a:pt x="174372" y="256357"/>
                  </a:lnTo>
                  <a:lnTo>
                    <a:pt x="4859" y="256357"/>
                  </a:lnTo>
                  <a:lnTo>
                    <a:pt x="4859" y="227699"/>
                  </a:lnTo>
                  <a:lnTo>
                    <a:pt x="87193" y="137908"/>
                  </a:lnTo>
                  <a:cubicBezTo>
                    <a:pt x="96211" y="127719"/>
                    <a:pt x="103336" y="118920"/>
                    <a:pt x="108541" y="111508"/>
                  </a:cubicBezTo>
                  <a:cubicBezTo>
                    <a:pt x="113760" y="104095"/>
                    <a:pt x="117403" y="97442"/>
                    <a:pt x="119499" y="91537"/>
                  </a:cubicBezTo>
                  <a:cubicBezTo>
                    <a:pt x="121697" y="85516"/>
                    <a:pt x="122797" y="79669"/>
                    <a:pt x="122797" y="73993"/>
                  </a:cubicBezTo>
                  <a:cubicBezTo>
                    <a:pt x="122797" y="66002"/>
                    <a:pt x="121284" y="58998"/>
                    <a:pt x="118278" y="52977"/>
                  </a:cubicBezTo>
                  <a:cubicBezTo>
                    <a:pt x="115374" y="46838"/>
                    <a:pt x="111099" y="42033"/>
                    <a:pt x="105413" y="38560"/>
                  </a:cubicBezTo>
                  <a:cubicBezTo>
                    <a:pt x="99747" y="34971"/>
                    <a:pt x="92860" y="33176"/>
                    <a:pt x="84752" y="33176"/>
                  </a:cubicBezTo>
                  <a:cubicBezTo>
                    <a:pt x="75374" y="33176"/>
                    <a:pt x="67510" y="35204"/>
                    <a:pt x="61138" y="39256"/>
                  </a:cubicBezTo>
                  <a:cubicBezTo>
                    <a:pt x="54766" y="43307"/>
                    <a:pt x="49956" y="48925"/>
                    <a:pt x="46712" y="56104"/>
                  </a:cubicBezTo>
                  <a:cubicBezTo>
                    <a:pt x="43482" y="63166"/>
                    <a:pt x="41853" y="71274"/>
                    <a:pt x="41853" y="80418"/>
                  </a:cubicBezTo>
                  <a:lnTo>
                    <a:pt x="0" y="80418"/>
                  </a:lnTo>
                  <a:cubicBezTo>
                    <a:pt x="0" y="65715"/>
                    <a:pt x="3366" y="52281"/>
                    <a:pt x="10083" y="40126"/>
                  </a:cubicBezTo>
                  <a:cubicBezTo>
                    <a:pt x="16800" y="27855"/>
                    <a:pt x="26517" y="18127"/>
                    <a:pt x="39261" y="10948"/>
                  </a:cubicBezTo>
                  <a:cubicBezTo>
                    <a:pt x="51989" y="3653"/>
                    <a:pt x="67325" y="5"/>
                    <a:pt x="85272" y="5"/>
                  </a:cubicBezTo>
                  <a:cubicBezTo>
                    <a:pt x="102189" y="5"/>
                    <a:pt x="116546" y="2840"/>
                    <a:pt x="128346" y="8517"/>
                  </a:cubicBezTo>
                  <a:cubicBezTo>
                    <a:pt x="140160" y="14193"/>
                    <a:pt x="149129" y="22237"/>
                    <a:pt x="155277" y="32660"/>
                  </a:cubicBezTo>
                  <a:cubicBezTo>
                    <a:pt x="161527" y="43079"/>
                    <a:pt x="164654" y="55413"/>
                    <a:pt x="164654" y="69655"/>
                  </a:cubicBezTo>
                  <a:cubicBezTo>
                    <a:pt x="164654" y="77529"/>
                    <a:pt x="163385" y="85345"/>
                    <a:pt x="160827" y="93103"/>
                  </a:cubicBezTo>
                  <a:cubicBezTo>
                    <a:pt x="158283" y="100861"/>
                    <a:pt x="154645" y="108619"/>
                    <a:pt x="149888" y="116376"/>
                  </a:cubicBezTo>
                  <a:cubicBezTo>
                    <a:pt x="145267" y="124017"/>
                    <a:pt x="139757" y="131717"/>
                    <a:pt x="133400" y="139475"/>
                  </a:cubicBezTo>
                  <a:cubicBezTo>
                    <a:pt x="127028" y="147116"/>
                    <a:pt x="120019" y="154873"/>
                    <a:pt x="112378" y="162748"/>
                  </a:cubicBezTo>
                  <a:lnTo>
                    <a:pt x="57675" y="223015"/>
                  </a:lnTo>
                  <a:lnTo>
                    <a:pt x="174377" y="223015"/>
                  </a:lnTo>
                  <a:close/>
                  <a:moveTo>
                    <a:pt x="371848" y="108730"/>
                  </a:moveTo>
                  <a:lnTo>
                    <a:pt x="371848" y="150063"/>
                  </a:lnTo>
                  <a:cubicBezTo>
                    <a:pt x="371848" y="169864"/>
                    <a:pt x="369873" y="186765"/>
                    <a:pt x="365938" y="200778"/>
                  </a:cubicBezTo>
                  <a:cubicBezTo>
                    <a:pt x="362125" y="214674"/>
                    <a:pt x="356561" y="225963"/>
                    <a:pt x="349260" y="234645"/>
                  </a:cubicBezTo>
                  <a:cubicBezTo>
                    <a:pt x="341960" y="243327"/>
                    <a:pt x="333219" y="249698"/>
                    <a:pt x="323035" y="253750"/>
                  </a:cubicBezTo>
                  <a:cubicBezTo>
                    <a:pt x="312971" y="257801"/>
                    <a:pt x="301668" y="259830"/>
                    <a:pt x="289168" y="259830"/>
                  </a:cubicBezTo>
                  <a:cubicBezTo>
                    <a:pt x="279221" y="259830"/>
                    <a:pt x="269951" y="258555"/>
                    <a:pt x="261381" y="256011"/>
                  </a:cubicBezTo>
                  <a:cubicBezTo>
                    <a:pt x="252933" y="253463"/>
                    <a:pt x="245287" y="249470"/>
                    <a:pt x="238468" y="244027"/>
                  </a:cubicBezTo>
                  <a:cubicBezTo>
                    <a:pt x="231634" y="238584"/>
                    <a:pt x="225773" y="231581"/>
                    <a:pt x="220914" y="223011"/>
                  </a:cubicBezTo>
                  <a:cubicBezTo>
                    <a:pt x="216172" y="214329"/>
                    <a:pt x="212466" y="203964"/>
                    <a:pt x="209800" y="191921"/>
                  </a:cubicBezTo>
                  <a:cubicBezTo>
                    <a:pt x="207256" y="179878"/>
                    <a:pt x="205972" y="165929"/>
                    <a:pt x="205972" y="150063"/>
                  </a:cubicBezTo>
                  <a:lnTo>
                    <a:pt x="205972" y="108730"/>
                  </a:lnTo>
                  <a:cubicBezTo>
                    <a:pt x="205972" y="88813"/>
                    <a:pt x="207947" y="72028"/>
                    <a:pt x="211882" y="58366"/>
                  </a:cubicBezTo>
                  <a:cubicBezTo>
                    <a:pt x="215831" y="44587"/>
                    <a:pt x="221430" y="33414"/>
                    <a:pt x="228730" y="24844"/>
                  </a:cubicBezTo>
                  <a:cubicBezTo>
                    <a:pt x="236031" y="16162"/>
                    <a:pt x="244722" y="9849"/>
                    <a:pt x="254786" y="5914"/>
                  </a:cubicBezTo>
                  <a:cubicBezTo>
                    <a:pt x="264970" y="1975"/>
                    <a:pt x="276323" y="10"/>
                    <a:pt x="288827" y="10"/>
                  </a:cubicBezTo>
                  <a:cubicBezTo>
                    <a:pt x="298910" y="10"/>
                    <a:pt x="308166" y="1284"/>
                    <a:pt x="316614" y="3833"/>
                  </a:cubicBezTo>
                  <a:cubicBezTo>
                    <a:pt x="325184" y="6265"/>
                    <a:pt x="332825" y="10141"/>
                    <a:pt x="339542" y="15467"/>
                  </a:cubicBezTo>
                  <a:cubicBezTo>
                    <a:pt x="346376" y="20793"/>
                    <a:pt x="352164" y="27738"/>
                    <a:pt x="356906" y="36308"/>
                  </a:cubicBezTo>
                  <a:cubicBezTo>
                    <a:pt x="361765" y="44762"/>
                    <a:pt x="365476" y="55010"/>
                    <a:pt x="368020" y="67048"/>
                  </a:cubicBezTo>
                  <a:cubicBezTo>
                    <a:pt x="370578" y="78974"/>
                    <a:pt x="371848" y="92870"/>
                    <a:pt x="371848" y="108730"/>
                  </a:cubicBezTo>
                  <a:close/>
                  <a:moveTo>
                    <a:pt x="329995" y="155968"/>
                  </a:moveTo>
                  <a:lnTo>
                    <a:pt x="329995" y="102476"/>
                  </a:lnTo>
                  <a:cubicBezTo>
                    <a:pt x="329995" y="92403"/>
                    <a:pt x="329411" y="83546"/>
                    <a:pt x="328258" y="75905"/>
                  </a:cubicBezTo>
                  <a:cubicBezTo>
                    <a:pt x="327091" y="68147"/>
                    <a:pt x="325355" y="61605"/>
                    <a:pt x="323039" y="56279"/>
                  </a:cubicBezTo>
                  <a:cubicBezTo>
                    <a:pt x="320841" y="50837"/>
                    <a:pt x="318059" y="46440"/>
                    <a:pt x="314708" y="43079"/>
                  </a:cubicBezTo>
                  <a:cubicBezTo>
                    <a:pt x="311342" y="39606"/>
                    <a:pt x="307529" y="37116"/>
                    <a:pt x="303234" y="35613"/>
                  </a:cubicBezTo>
                  <a:cubicBezTo>
                    <a:pt x="298959" y="33993"/>
                    <a:pt x="294148" y="33181"/>
                    <a:pt x="288823" y="33181"/>
                  </a:cubicBezTo>
                  <a:cubicBezTo>
                    <a:pt x="282349" y="33181"/>
                    <a:pt x="276542" y="34455"/>
                    <a:pt x="271459" y="37004"/>
                  </a:cubicBezTo>
                  <a:cubicBezTo>
                    <a:pt x="266357" y="39436"/>
                    <a:pt x="262081" y="43371"/>
                    <a:pt x="258613" y="48813"/>
                  </a:cubicBezTo>
                  <a:cubicBezTo>
                    <a:pt x="255126" y="54256"/>
                    <a:pt x="252466" y="61435"/>
                    <a:pt x="250608" y="70350"/>
                  </a:cubicBezTo>
                  <a:cubicBezTo>
                    <a:pt x="248871" y="79149"/>
                    <a:pt x="248015" y="89859"/>
                    <a:pt x="248015" y="102480"/>
                  </a:cubicBezTo>
                  <a:lnTo>
                    <a:pt x="248015" y="155973"/>
                  </a:lnTo>
                  <a:cubicBezTo>
                    <a:pt x="248015" y="166162"/>
                    <a:pt x="248584" y="175136"/>
                    <a:pt x="249752" y="182894"/>
                  </a:cubicBezTo>
                  <a:cubicBezTo>
                    <a:pt x="250904" y="190652"/>
                    <a:pt x="252636" y="197310"/>
                    <a:pt x="254956" y="202865"/>
                  </a:cubicBezTo>
                  <a:cubicBezTo>
                    <a:pt x="257276" y="208307"/>
                    <a:pt x="260058" y="212821"/>
                    <a:pt x="263302" y="216410"/>
                  </a:cubicBezTo>
                  <a:cubicBezTo>
                    <a:pt x="266653" y="219883"/>
                    <a:pt x="270481" y="222432"/>
                    <a:pt x="274756" y="224051"/>
                  </a:cubicBezTo>
                  <a:cubicBezTo>
                    <a:pt x="279153" y="225671"/>
                    <a:pt x="283964" y="226483"/>
                    <a:pt x="289168" y="226483"/>
                  </a:cubicBezTo>
                  <a:cubicBezTo>
                    <a:pt x="295778" y="226483"/>
                    <a:pt x="301619" y="225209"/>
                    <a:pt x="306721" y="222660"/>
                  </a:cubicBezTo>
                  <a:cubicBezTo>
                    <a:pt x="311804" y="220112"/>
                    <a:pt x="316099" y="216060"/>
                    <a:pt x="319567" y="210501"/>
                  </a:cubicBezTo>
                  <a:cubicBezTo>
                    <a:pt x="323035" y="204830"/>
                    <a:pt x="325646" y="197476"/>
                    <a:pt x="327383" y="188443"/>
                  </a:cubicBezTo>
                  <a:cubicBezTo>
                    <a:pt x="329119" y="179411"/>
                    <a:pt x="329995" y="168585"/>
                    <a:pt x="329995" y="155963"/>
                  </a:cubicBezTo>
                  <a:close/>
                  <a:moveTo>
                    <a:pt x="578701" y="223006"/>
                  </a:moveTo>
                  <a:lnTo>
                    <a:pt x="578701" y="256352"/>
                  </a:lnTo>
                  <a:lnTo>
                    <a:pt x="409187" y="256352"/>
                  </a:lnTo>
                  <a:lnTo>
                    <a:pt x="409187" y="227694"/>
                  </a:lnTo>
                  <a:lnTo>
                    <a:pt x="491507" y="137904"/>
                  </a:lnTo>
                  <a:cubicBezTo>
                    <a:pt x="500539" y="127714"/>
                    <a:pt x="507670" y="118915"/>
                    <a:pt x="512874" y="111503"/>
                  </a:cubicBezTo>
                  <a:cubicBezTo>
                    <a:pt x="518078" y="104090"/>
                    <a:pt x="521736" y="97437"/>
                    <a:pt x="523813" y="91532"/>
                  </a:cubicBezTo>
                  <a:cubicBezTo>
                    <a:pt x="526011" y="85511"/>
                    <a:pt x="527110" y="79664"/>
                    <a:pt x="527110" y="73988"/>
                  </a:cubicBezTo>
                  <a:cubicBezTo>
                    <a:pt x="527110" y="65997"/>
                    <a:pt x="525617" y="58993"/>
                    <a:pt x="522592" y="52972"/>
                  </a:cubicBezTo>
                  <a:cubicBezTo>
                    <a:pt x="519708" y="46834"/>
                    <a:pt x="515413" y="42028"/>
                    <a:pt x="509746" y="38555"/>
                  </a:cubicBezTo>
                  <a:cubicBezTo>
                    <a:pt x="504080" y="34966"/>
                    <a:pt x="497193" y="33171"/>
                    <a:pt x="489085" y="33171"/>
                  </a:cubicBezTo>
                  <a:cubicBezTo>
                    <a:pt x="479708" y="33171"/>
                    <a:pt x="471823" y="35199"/>
                    <a:pt x="465452" y="39251"/>
                  </a:cubicBezTo>
                  <a:cubicBezTo>
                    <a:pt x="459095" y="43302"/>
                    <a:pt x="454289" y="48920"/>
                    <a:pt x="451040" y="56099"/>
                  </a:cubicBezTo>
                  <a:cubicBezTo>
                    <a:pt x="447796" y="63161"/>
                    <a:pt x="446181" y="71269"/>
                    <a:pt x="446181" y="80413"/>
                  </a:cubicBezTo>
                  <a:lnTo>
                    <a:pt x="404328" y="80413"/>
                  </a:lnTo>
                  <a:cubicBezTo>
                    <a:pt x="404328" y="65710"/>
                    <a:pt x="407679" y="52276"/>
                    <a:pt x="414391" y="40122"/>
                  </a:cubicBezTo>
                  <a:cubicBezTo>
                    <a:pt x="421108" y="27850"/>
                    <a:pt x="430846" y="18123"/>
                    <a:pt x="443569" y="10944"/>
                  </a:cubicBezTo>
                  <a:cubicBezTo>
                    <a:pt x="456313" y="3648"/>
                    <a:pt x="471648" y="0"/>
                    <a:pt x="489596" y="0"/>
                  </a:cubicBezTo>
                  <a:cubicBezTo>
                    <a:pt x="506497" y="0"/>
                    <a:pt x="520855" y="2836"/>
                    <a:pt x="532670" y="8512"/>
                  </a:cubicBezTo>
                  <a:cubicBezTo>
                    <a:pt x="544484" y="14188"/>
                    <a:pt x="553453" y="22232"/>
                    <a:pt x="559581" y="32656"/>
                  </a:cubicBezTo>
                  <a:cubicBezTo>
                    <a:pt x="565831" y="43074"/>
                    <a:pt x="568958" y="55409"/>
                    <a:pt x="568958" y="69650"/>
                  </a:cubicBezTo>
                  <a:cubicBezTo>
                    <a:pt x="568958" y="77524"/>
                    <a:pt x="567689" y="85340"/>
                    <a:pt x="565145" y="93098"/>
                  </a:cubicBezTo>
                  <a:cubicBezTo>
                    <a:pt x="562601" y="100856"/>
                    <a:pt x="558944" y="108614"/>
                    <a:pt x="554207" y="116372"/>
                  </a:cubicBezTo>
                  <a:cubicBezTo>
                    <a:pt x="549571" y="124013"/>
                    <a:pt x="544075" y="131712"/>
                    <a:pt x="537704" y="139470"/>
                  </a:cubicBezTo>
                  <a:cubicBezTo>
                    <a:pt x="531332" y="147111"/>
                    <a:pt x="524323" y="154869"/>
                    <a:pt x="516697" y="162743"/>
                  </a:cubicBezTo>
                  <a:lnTo>
                    <a:pt x="461979" y="223011"/>
                  </a:lnTo>
                  <a:lnTo>
                    <a:pt x="578701" y="223011"/>
                  </a:lnTo>
                  <a:close/>
                  <a:moveTo>
                    <a:pt x="660505" y="110982"/>
                  </a:moveTo>
                  <a:lnTo>
                    <a:pt x="685510" y="110982"/>
                  </a:lnTo>
                  <a:cubicBezTo>
                    <a:pt x="695233" y="110982"/>
                    <a:pt x="703287" y="109304"/>
                    <a:pt x="709639" y="105948"/>
                  </a:cubicBezTo>
                  <a:cubicBezTo>
                    <a:pt x="716132" y="102592"/>
                    <a:pt x="720943" y="97957"/>
                    <a:pt x="724065" y="92052"/>
                  </a:cubicBezTo>
                  <a:cubicBezTo>
                    <a:pt x="727193" y="86148"/>
                    <a:pt x="728754" y="79373"/>
                    <a:pt x="728754" y="71731"/>
                  </a:cubicBezTo>
                  <a:cubicBezTo>
                    <a:pt x="728754" y="64090"/>
                    <a:pt x="727295" y="56911"/>
                    <a:pt x="724411" y="51240"/>
                  </a:cubicBezTo>
                  <a:cubicBezTo>
                    <a:pt x="721628" y="45452"/>
                    <a:pt x="717353" y="40992"/>
                    <a:pt x="711565" y="37865"/>
                  </a:cubicBezTo>
                  <a:cubicBezTo>
                    <a:pt x="705879" y="34737"/>
                    <a:pt x="698652" y="33176"/>
                    <a:pt x="689858" y="33176"/>
                  </a:cubicBezTo>
                  <a:cubicBezTo>
                    <a:pt x="682441" y="33176"/>
                    <a:pt x="675724" y="34679"/>
                    <a:pt x="669712" y="37690"/>
                  </a:cubicBezTo>
                  <a:cubicBezTo>
                    <a:pt x="663803" y="40584"/>
                    <a:pt x="659114" y="44752"/>
                    <a:pt x="655626" y="50195"/>
                  </a:cubicBezTo>
                  <a:cubicBezTo>
                    <a:pt x="652159" y="55520"/>
                    <a:pt x="650422" y="61887"/>
                    <a:pt x="650422" y="69300"/>
                  </a:cubicBezTo>
                  <a:lnTo>
                    <a:pt x="608394" y="69300"/>
                  </a:lnTo>
                  <a:cubicBezTo>
                    <a:pt x="608394" y="55866"/>
                    <a:pt x="611916" y="43945"/>
                    <a:pt x="618992" y="33521"/>
                  </a:cubicBezTo>
                  <a:cubicBezTo>
                    <a:pt x="626050" y="23103"/>
                    <a:pt x="635670" y="14937"/>
                    <a:pt x="647810" y="9032"/>
                  </a:cubicBezTo>
                  <a:cubicBezTo>
                    <a:pt x="660092" y="3011"/>
                    <a:pt x="673866" y="0"/>
                    <a:pt x="689148" y="0"/>
                  </a:cubicBezTo>
                  <a:cubicBezTo>
                    <a:pt x="705480" y="0"/>
                    <a:pt x="719717" y="2724"/>
                    <a:pt x="731876" y="8161"/>
                  </a:cubicBezTo>
                  <a:cubicBezTo>
                    <a:pt x="744138" y="13487"/>
                    <a:pt x="753705" y="21479"/>
                    <a:pt x="760524" y="32130"/>
                  </a:cubicBezTo>
                  <a:cubicBezTo>
                    <a:pt x="767358" y="42782"/>
                    <a:pt x="770777" y="55982"/>
                    <a:pt x="770777" y="71727"/>
                  </a:cubicBezTo>
                  <a:cubicBezTo>
                    <a:pt x="770777" y="78906"/>
                    <a:pt x="769094" y="86201"/>
                    <a:pt x="765743" y="93609"/>
                  </a:cubicBezTo>
                  <a:cubicBezTo>
                    <a:pt x="762378" y="101021"/>
                    <a:pt x="757397" y="107792"/>
                    <a:pt x="750802" y="113930"/>
                  </a:cubicBezTo>
                  <a:cubicBezTo>
                    <a:pt x="744206" y="119951"/>
                    <a:pt x="735982" y="124869"/>
                    <a:pt x="726137" y="128692"/>
                  </a:cubicBezTo>
                  <a:cubicBezTo>
                    <a:pt x="716298" y="132398"/>
                    <a:pt x="704892" y="134251"/>
                    <a:pt x="691925" y="134251"/>
                  </a:cubicBezTo>
                  <a:lnTo>
                    <a:pt x="660495" y="134251"/>
                  </a:lnTo>
                  <a:lnTo>
                    <a:pt x="660495" y="110978"/>
                  </a:lnTo>
                  <a:close/>
                  <a:moveTo>
                    <a:pt x="660505" y="143633"/>
                  </a:moveTo>
                  <a:lnTo>
                    <a:pt x="660505" y="120705"/>
                  </a:lnTo>
                  <a:lnTo>
                    <a:pt x="691935" y="120705"/>
                  </a:lnTo>
                  <a:cubicBezTo>
                    <a:pt x="706755" y="120705"/>
                    <a:pt x="719381" y="122442"/>
                    <a:pt x="729790" y="125914"/>
                  </a:cubicBezTo>
                  <a:cubicBezTo>
                    <a:pt x="740335" y="129387"/>
                    <a:pt x="748905" y="134193"/>
                    <a:pt x="755500" y="140331"/>
                  </a:cubicBezTo>
                  <a:cubicBezTo>
                    <a:pt x="762095" y="146352"/>
                    <a:pt x="766906" y="153239"/>
                    <a:pt x="769911" y="160997"/>
                  </a:cubicBezTo>
                  <a:cubicBezTo>
                    <a:pt x="773039" y="168755"/>
                    <a:pt x="774600" y="176975"/>
                    <a:pt x="774600" y="185661"/>
                  </a:cubicBezTo>
                  <a:cubicBezTo>
                    <a:pt x="774600" y="197471"/>
                    <a:pt x="772470" y="208006"/>
                    <a:pt x="768175" y="217271"/>
                  </a:cubicBezTo>
                  <a:cubicBezTo>
                    <a:pt x="764016" y="226420"/>
                    <a:pt x="758044" y="234178"/>
                    <a:pt x="750296" y="240545"/>
                  </a:cubicBezTo>
                  <a:cubicBezTo>
                    <a:pt x="742533" y="246911"/>
                    <a:pt x="733447" y="251717"/>
                    <a:pt x="723024" y="254961"/>
                  </a:cubicBezTo>
                  <a:cubicBezTo>
                    <a:pt x="712718" y="258205"/>
                    <a:pt x="701487" y="259825"/>
                    <a:pt x="689328" y="259825"/>
                  </a:cubicBezTo>
                  <a:cubicBezTo>
                    <a:pt x="678457" y="259825"/>
                    <a:pt x="668029" y="258322"/>
                    <a:pt x="658068" y="255311"/>
                  </a:cubicBezTo>
                  <a:cubicBezTo>
                    <a:pt x="648107" y="252300"/>
                    <a:pt x="639192" y="247845"/>
                    <a:pt x="631327" y="241940"/>
                  </a:cubicBezTo>
                  <a:cubicBezTo>
                    <a:pt x="623443" y="235919"/>
                    <a:pt x="617193" y="228453"/>
                    <a:pt x="612572" y="219538"/>
                  </a:cubicBezTo>
                  <a:cubicBezTo>
                    <a:pt x="608054" y="210506"/>
                    <a:pt x="605787" y="200087"/>
                    <a:pt x="605787" y="188273"/>
                  </a:cubicBezTo>
                  <a:lnTo>
                    <a:pt x="647640" y="188273"/>
                  </a:lnTo>
                  <a:cubicBezTo>
                    <a:pt x="647640" y="195802"/>
                    <a:pt x="649377" y="202456"/>
                    <a:pt x="652859" y="208249"/>
                  </a:cubicBezTo>
                  <a:cubicBezTo>
                    <a:pt x="656449" y="213920"/>
                    <a:pt x="661429" y="218380"/>
                    <a:pt x="667786" y="221619"/>
                  </a:cubicBezTo>
                  <a:cubicBezTo>
                    <a:pt x="674279" y="224864"/>
                    <a:pt x="681682" y="226483"/>
                    <a:pt x="690028" y="226483"/>
                  </a:cubicBezTo>
                  <a:cubicBezTo>
                    <a:pt x="698822" y="226483"/>
                    <a:pt x="706415" y="224922"/>
                    <a:pt x="712767" y="221795"/>
                  </a:cubicBezTo>
                  <a:cubicBezTo>
                    <a:pt x="719138" y="218667"/>
                    <a:pt x="723997" y="214037"/>
                    <a:pt x="727363" y="207899"/>
                  </a:cubicBezTo>
                  <a:cubicBezTo>
                    <a:pt x="730831" y="201761"/>
                    <a:pt x="732567" y="194353"/>
                    <a:pt x="732567" y="185671"/>
                  </a:cubicBezTo>
                  <a:cubicBezTo>
                    <a:pt x="732567" y="175827"/>
                    <a:pt x="730660" y="167840"/>
                    <a:pt x="726847" y="161702"/>
                  </a:cubicBezTo>
                  <a:cubicBezTo>
                    <a:pt x="723019" y="155564"/>
                    <a:pt x="717572" y="151050"/>
                    <a:pt x="710515" y="148157"/>
                  </a:cubicBezTo>
                  <a:cubicBezTo>
                    <a:pt x="703457" y="145146"/>
                    <a:pt x="695111" y="143643"/>
                    <a:pt x="685510" y="143643"/>
                  </a:cubicBezTo>
                  <a:lnTo>
                    <a:pt x="660505" y="143643"/>
                  </a:lnTo>
                  <a:close/>
                </a:path>
              </a:pathLst>
            </a:custGeom>
            <a:solidFill>
              <a:schemeClr val="tx1"/>
            </a:solidFill>
            <a:ln w="486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4" name="HFLabs Logo">
            <a:extLst>
              <a:ext uri="{FF2B5EF4-FFF2-40B4-BE49-F238E27FC236}">
                <a16:creationId xmlns:a16="http://schemas.microsoft.com/office/drawing/2014/main" id="{AA9AE2BC-BEBF-4CAF-89FA-F0D70F0896F2}"/>
              </a:ext>
            </a:extLst>
          </p:cNvPr>
          <p:cNvGrpSpPr/>
          <p:nvPr/>
        </p:nvGrpSpPr>
        <p:grpSpPr>
          <a:xfrm>
            <a:off x="630183" y="6085104"/>
            <a:ext cx="1488859" cy="256659"/>
            <a:chOff x="1447975" y="1300681"/>
            <a:chExt cx="3559515" cy="613613"/>
          </a:xfrm>
          <a:solidFill>
            <a:schemeClr val="tx1"/>
          </a:solidFill>
        </p:grpSpPr>
        <p:sp>
          <p:nvSpPr>
            <p:cNvPr id="15" name="Полилиния: фигура 14">
              <a:extLst>
                <a:ext uri="{FF2B5EF4-FFF2-40B4-BE49-F238E27FC236}">
                  <a16:creationId xmlns:a16="http://schemas.microsoft.com/office/drawing/2014/main" id="{B7B235B3-B825-4A9B-8513-92960D55FEF2}"/>
                </a:ext>
              </a:extLst>
            </p:cNvPr>
            <p:cNvSpPr/>
            <p:nvPr/>
          </p:nvSpPr>
          <p:spPr>
            <a:xfrm>
              <a:off x="1622986" y="1482862"/>
              <a:ext cx="197959" cy="262511"/>
            </a:xfrm>
            <a:custGeom>
              <a:avLst/>
              <a:gdLst>
                <a:gd name="connsiteX0" fmla="*/ 197960 w 197959"/>
                <a:gd name="connsiteY0" fmla="*/ 262511 h 262511"/>
                <a:gd name="connsiteX1" fmla="*/ 162098 w 197959"/>
                <a:gd name="connsiteY1" fmla="*/ 262511 h 262511"/>
                <a:gd name="connsiteX2" fmla="*/ 162098 w 197959"/>
                <a:gd name="connsiteY2" fmla="*/ 146318 h 262511"/>
                <a:gd name="connsiteX3" fmla="*/ 34427 w 197959"/>
                <a:gd name="connsiteY3" fmla="*/ 146318 h 262511"/>
                <a:gd name="connsiteX4" fmla="*/ 34427 w 197959"/>
                <a:gd name="connsiteY4" fmla="*/ 262511 h 262511"/>
                <a:gd name="connsiteX5" fmla="*/ 0 w 197959"/>
                <a:gd name="connsiteY5" fmla="*/ 262511 h 262511"/>
                <a:gd name="connsiteX6" fmla="*/ 0 w 197959"/>
                <a:gd name="connsiteY6" fmla="*/ 0 h 262511"/>
                <a:gd name="connsiteX7" fmla="*/ 34427 w 197959"/>
                <a:gd name="connsiteY7" fmla="*/ 0 h 262511"/>
                <a:gd name="connsiteX8" fmla="*/ 34427 w 197959"/>
                <a:gd name="connsiteY8" fmla="*/ 119062 h 262511"/>
                <a:gd name="connsiteX9" fmla="*/ 162098 w 197959"/>
                <a:gd name="connsiteY9" fmla="*/ 119062 h 262511"/>
                <a:gd name="connsiteX10" fmla="*/ 162098 w 197959"/>
                <a:gd name="connsiteY10" fmla="*/ 0 h 262511"/>
                <a:gd name="connsiteX11" fmla="*/ 197960 w 197959"/>
                <a:gd name="connsiteY11" fmla="*/ 0 h 262511"/>
                <a:gd name="connsiteX12" fmla="*/ 197960 w 197959"/>
                <a:gd name="connsiteY12" fmla="*/ 262511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97959" h="262511">
                  <a:moveTo>
                    <a:pt x="197960" y="262511"/>
                  </a:moveTo>
                  <a:lnTo>
                    <a:pt x="162098" y="262511"/>
                  </a:lnTo>
                  <a:lnTo>
                    <a:pt x="162098" y="146318"/>
                  </a:lnTo>
                  <a:lnTo>
                    <a:pt x="34427" y="146318"/>
                  </a:lnTo>
                  <a:lnTo>
                    <a:pt x="34427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34427" y="0"/>
                  </a:lnTo>
                  <a:lnTo>
                    <a:pt x="34427" y="119062"/>
                  </a:lnTo>
                  <a:lnTo>
                    <a:pt x="162098" y="119062"/>
                  </a:lnTo>
                  <a:lnTo>
                    <a:pt x="162098" y="0"/>
                  </a:lnTo>
                  <a:lnTo>
                    <a:pt x="197960" y="0"/>
                  </a:lnTo>
                  <a:lnTo>
                    <a:pt x="197960" y="262511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6" name="Полилиния: фигура 15">
              <a:extLst>
                <a:ext uri="{FF2B5EF4-FFF2-40B4-BE49-F238E27FC236}">
                  <a16:creationId xmlns:a16="http://schemas.microsoft.com/office/drawing/2014/main" id="{A19D538C-530F-4B21-BE74-F2BD1F40A2B9}"/>
                </a:ext>
              </a:extLst>
            </p:cNvPr>
            <p:cNvSpPr/>
            <p:nvPr/>
          </p:nvSpPr>
          <p:spPr>
            <a:xfrm>
              <a:off x="2919774" y="1482862"/>
              <a:ext cx="172134" cy="262511"/>
            </a:xfrm>
            <a:custGeom>
              <a:avLst/>
              <a:gdLst>
                <a:gd name="connsiteX0" fmla="*/ 154920 w 172134"/>
                <a:gd name="connsiteY0" fmla="*/ 146318 h 262511"/>
                <a:gd name="connsiteX1" fmla="*/ 34430 w 172134"/>
                <a:gd name="connsiteY1" fmla="*/ 146318 h 262511"/>
                <a:gd name="connsiteX2" fmla="*/ 34430 w 172134"/>
                <a:gd name="connsiteY2" fmla="*/ 262511 h 262511"/>
                <a:gd name="connsiteX3" fmla="*/ 0 w 172134"/>
                <a:gd name="connsiteY3" fmla="*/ 262511 h 262511"/>
                <a:gd name="connsiteX4" fmla="*/ 0 w 172134"/>
                <a:gd name="connsiteY4" fmla="*/ 0 h 262511"/>
                <a:gd name="connsiteX5" fmla="*/ 172134 w 172134"/>
                <a:gd name="connsiteY5" fmla="*/ 0 h 262511"/>
                <a:gd name="connsiteX6" fmla="*/ 172134 w 172134"/>
                <a:gd name="connsiteY6" fmla="*/ 28690 h 262511"/>
                <a:gd name="connsiteX7" fmla="*/ 34430 w 172134"/>
                <a:gd name="connsiteY7" fmla="*/ 28690 h 262511"/>
                <a:gd name="connsiteX8" fmla="*/ 34430 w 172134"/>
                <a:gd name="connsiteY8" fmla="*/ 119062 h 262511"/>
                <a:gd name="connsiteX9" fmla="*/ 154920 w 172134"/>
                <a:gd name="connsiteY9" fmla="*/ 119062 h 262511"/>
                <a:gd name="connsiteX10" fmla="*/ 154920 w 172134"/>
                <a:gd name="connsiteY10" fmla="*/ 146318 h 2625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172134" h="262511">
                  <a:moveTo>
                    <a:pt x="154920" y="146318"/>
                  </a:moveTo>
                  <a:lnTo>
                    <a:pt x="34430" y="146318"/>
                  </a:lnTo>
                  <a:lnTo>
                    <a:pt x="34430" y="262511"/>
                  </a:lnTo>
                  <a:lnTo>
                    <a:pt x="0" y="262511"/>
                  </a:lnTo>
                  <a:lnTo>
                    <a:pt x="0" y="0"/>
                  </a:lnTo>
                  <a:lnTo>
                    <a:pt x="172134" y="0"/>
                  </a:lnTo>
                  <a:lnTo>
                    <a:pt x="172134" y="28690"/>
                  </a:lnTo>
                  <a:lnTo>
                    <a:pt x="34430" y="28690"/>
                  </a:lnTo>
                  <a:lnTo>
                    <a:pt x="34430" y="119062"/>
                  </a:lnTo>
                  <a:lnTo>
                    <a:pt x="154920" y="119062"/>
                  </a:lnTo>
                  <a:lnTo>
                    <a:pt x="154920" y="146318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7" name="Полилиния: фигура 16">
              <a:extLst>
                <a:ext uri="{FF2B5EF4-FFF2-40B4-BE49-F238E27FC236}">
                  <a16:creationId xmlns:a16="http://schemas.microsoft.com/office/drawing/2014/main" id="{2CF87139-6163-4801-9DE4-FD336242B2CA}"/>
                </a:ext>
              </a:extLst>
            </p:cNvPr>
            <p:cNvSpPr/>
            <p:nvPr/>
          </p:nvSpPr>
          <p:spPr>
            <a:xfrm>
              <a:off x="4078842" y="1464205"/>
              <a:ext cx="755979" cy="285464"/>
            </a:xfrm>
            <a:custGeom>
              <a:avLst/>
              <a:gdLst>
                <a:gd name="connsiteX0" fmla="*/ 35862 w 755979"/>
                <a:gd name="connsiteY0" fmla="*/ 252472 h 285464"/>
                <a:gd name="connsiteX1" fmla="*/ 159230 w 755979"/>
                <a:gd name="connsiteY1" fmla="*/ 252472 h 285464"/>
                <a:gd name="connsiteX2" fmla="*/ 159230 w 755979"/>
                <a:gd name="connsiteY2" fmla="*/ 281161 h 285464"/>
                <a:gd name="connsiteX3" fmla="*/ 0 w 755979"/>
                <a:gd name="connsiteY3" fmla="*/ 281161 h 285464"/>
                <a:gd name="connsiteX4" fmla="*/ 0 w 755979"/>
                <a:gd name="connsiteY4" fmla="*/ 18648 h 285464"/>
                <a:gd name="connsiteX5" fmla="*/ 35862 w 755979"/>
                <a:gd name="connsiteY5" fmla="*/ 18648 h 285464"/>
                <a:gd name="connsiteX6" fmla="*/ 35862 w 755979"/>
                <a:gd name="connsiteY6" fmla="*/ 252472 h 285464"/>
                <a:gd name="connsiteX7" fmla="*/ 312718 w 755979"/>
                <a:gd name="connsiteY7" fmla="*/ 281161 h 285464"/>
                <a:gd name="connsiteX8" fmla="*/ 309853 w 755979"/>
                <a:gd name="connsiteY8" fmla="*/ 265381 h 285464"/>
                <a:gd name="connsiteX9" fmla="*/ 308407 w 755979"/>
                <a:gd name="connsiteY9" fmla="*/ 252472 h 285464"/>
                <a:gd name="connsiteX10" fmla="*/ 282599 w 755979"/>
                <a:gd name="connsiteY10" fmla="*/ 275424 h 285464"/>
                <a:gd name="connsiteX11" fmla="*/ 248169 w 755979"/>
                <a:gd name="connsiteY11" fmla="*/ 285465 h 285464"/>
                <a:gd name="connsiteX12" fmla="*/ 202267 w 755979"/>
                <a:gd name="connsiteY12" fmla="*/ 269685 h 285464"/>
                <a:gd name="connsiteX13" fmla="*/ 186485 w 755979"/>
                <a:gd name="connsiteY13" fmla="*/ 226651 h 285464"/>
                <a:gd name="connsiteX14" fmla="*/ 209429 w 755979"/>
                <a:gd name="connsiteY14" fmla="*/ 183616 h 285464"/>
                <a:gd name="connsiteX15" fmla="*/ 271113 w 755979"/>
                <a:gd name="connsiteY15" fmla="*/ 167837 h 285464"/>
                <a:gd name="connsiteX16" fmla="*/ 309853 w 755979"/>
                <a:gd name="connsiteY16" fmla="*/ 167837 h 285464"/>
                <a:gd name="connsiteX17" fmla="*/ 309853 w 755979"/>
                <a:gd name="connsiteY17" fmla="*/ 147753 h 285464"/>
                <a:gd name="connsiteX18" fmla="*/ 299814 w 755979"/>
                <a:gd name="connsiteY18" fmla="*/ 120498 h 285464"/>
                <a:gd name="connsiteX19" fmla="*/ 269681 w 755979"/>
                <a:gd name="connsiteY19" fmla="*/ 110456 h 285464"/>
                <a:gd name="connsiteX20" fmla="*/ 242426 w 755979"/>
                <a:gd name="connsiteY20" fmla="*/ 119063 h 285464"/>
                <a:gd name="connsiteX21" fmla="*/ 232386 w 755979"/>
                <a:gd name="connsiteY21" fmla="*/ 139147 h 285464"/>
                <a:gd name="connsiteX22" fmla="*/ 196524 w 755979"/>
                <a:gd name="connsiteY22" fmla="*/ 139147 h 285464"/>
                <a:gd name="connsiteX23" fmla="*/ 196524 w 755979"/>
                <a:gd name="connsiteY23" fmla="*/ 137712 h 285464"/>
                <a:gd name="connsiteX24" fmla="*/ 216604 w 755979"/>
                <a:gd name="connsiteY24" fmla="*/ 98981 h 285464"/>
                <a:gd name="connsiteX25" fmla="*/ 271113 w 755979"/>
                <a:gd name="connsiteY25" fmla="*/ 81766 h 285464"/>
                <a:gd name="connsiteX26" fmla="*/ 324190 w 755979"/>
                <a:gd name="connsiteY26" fmla="*/ 98981 h 285464"/>
                <a:gd name="connsiteX27" fmla="*/ 344283 w 755979"/>
                <a:gd name="connsiteY27" fmla="*/ 147753 h 285464"/>
                <a:gd name="connsiteX28" fmla="*/ 344283 w 755979"/>
                <a:gd name="connsiteY28" fmla="*/ 240995 h 285464"/>
                <a:gd name="connsiteX29" fmla="*/ 345715 w 755979"/>
                <a:gd name="connsiteY29" fmla="*/ 261078 h 285464"/>
                <a:gd name="connsiteX30" fmla="*/ 350012 w 755979"/>
                <a:gd name="connsiteY30" fmla="*/ 279728 h 285464"/>
                <a:gd name="connsiteX31" fmla="*/ 312718 w 755979"/>
                <a:gd name="connsiteY31" fmla="*/ 279728 h 285464"/>
                <a:gd name="connsiteX32" fmla="*/ 312718 w 755979"/>
                <a:gd name="connsiteY32" fmla="*/ 281161 h 285464"/>
                <a:gd name="connsiteX33" fmla="*/ 253898 w 755979"/>
                <a:gd name="connsiteY33" fmla="*/ 255340 h 285464"/>
                <a:gd name="connsiteX34" fmla="*/ 288328 w 755979"/>
                <a:gd name="connsiteY34" fmla="*/ 245299 h 285464"/>
                <a:gd name="connsiteX35" fmla="*/ 308407 w 755979"/>
                <a:gd name="connsiteY35" fmla="*/ 222347 h 285464"/>
                <a:gd name="connsiteX36" fmla="*/ 308407 w 755979"/>
                <a:gd name="connsiteY36" fmla="*/ 190789 h 285464"/>
                <a:gd name="connsiteX37" fmla="*/ 268248 w 755979"/>
                <a:gd name="connsiteY37" fmla="*/ 190789 h 285464"/>
                <a:gd name="connsiteX38" fmla="*/ 233819 w 755979"/>
                <a:gd name="connsiteY38" fmla="*/ 200830 h 285464"/>
                <a:gd name="connsiteX39" fmla="*/ 220915 w 755979"/>
                <a:gd name="connsiteY39" fmla="*/ 226651 h 285464"/>
                <a:gd name="connsiteX40" fmla="*/ 229522 w 755979"/>
                <a:gd name="connsiteY40" fmla="*/ 246733 h 285464"/>
                <a:gd name="connsiteX41" fmla="*/ 253898 w 755979"/>
                <a:gd name="connsiteY41" fmla="*/ 255340 h 285464"/>
                <a:gd name="connsiteX42" fmla="*/ 562319 w 755979"/>
                <a:gd name="connsiteY42" fmla="*/ 190789 h 285464"/>
                <a:gd name="connsiteX43" fmla="*/ 542240 w 755979"/>
                <a:gd name="connsiteY43" fmla="*/ 258209 h 285464"/>
                <a:gd name="connsiteX44" fmla="*/ 486284 w 755979"/>
                <a:gd name="connsiteY44" fmla="*/ 284030 h 285464"/>
                <a:gd name="connsiteX45" fmla="*/ 453301 w 755979"/>
                <a:gd name="connsiteY45" fmla="*/ 276857 h 285464"/>
                <a:gd name="connsiteX46" fmla="*/ 430343 w 755979"/>
                <a:gd name="connsiteY46" fmla="*/ 255340 h 285464"/>
                <a:gd name="connsiteX47" fmla="*/ 426047 w 755979"/>
                <a:gd name="connsiteY47" fmla="*/ 281161 h 285464"/>
                <a:gd name="connsiteX48" fmla="*/ 397346 w 755979"/>
                <a:gd name="connsiteY48" fmla="*/ 281161 h 285464"/>
                <a:gd name="connsiteX49" fmla="*/ 397346 w 755979"/>
                <a:gd name="connsiteY49" fmla="*/ 0 h 285464"/>
                <a:gd name="connsiteX50" fmla="*/ 433222 w 755979"/>
                <a:gd name="connsiteY50" fmla="*/ 0 h 285464"/>
                <a:gd name="connsiteX51" fmla="*/ 433222 w 755979"/>
                <a:gd name="connsiteY51" fmla="*/ 109022 h 285464"/>
                <a:gd name="connsiteX52" fmla="*/ 456166 w 755979"/>
                <a:gd name="connsiteY52" fmla="*/ 88939 h 285464"/>
                <a:gd name="connsiteX53" fmla="*/ 487731 w 755979"/>
                <a:gd name="connsiteY53" fmla="*/ 81766 h 285464"/>
                <a:gd name="connsiteX54" fmla="*/ 543672 w 755979"/>
                <a:gd name="connsiteY54" fmla="*/ 110456 h 285464"/>
                <a:gd name="connsiteX55" fmla="*/ 563751 w 755979"/>
                <a:gd name="connsiteY55" fmla="*/ 186485 h 285464"/>
                <a:gd name="connsiteX56" fmla="*/ 563751 w 755979"/>
                <a:gd name="connsiteY56" fmla="*/ 190789 h 285464"/>
                <a:gd name="connsiteX57" fmla="*/ 562319 w 755979"/>
                <a:gd name="connsiteY57" fmla="*/ 190789 h 285464"/>
                <a:gd name="connsiteX58" fmla="*/ 526457 w 755979"/>
                <a:gd name="connsiteY58" fmla="*/ 187919 h 285464"/>
                <a:gd name="connsiteX59" fmla="*/ 513553 w 755979"/>
                <a:gd name="connsiteY59" fmla="*/ 133408 h 285464"/>
                <a:gd name="connsiteX60" fmla="*/ 476245 w 755979"/>
                <a:gd name="connsiteY60" fmla="*/ 111891 h 285464"/>
                <a:gd name="connsiteX61" fmla="*/ 448990 w 755979"/>
                <a:gd name="connsiteY61" fmla="*/ 120498 h 285464"/>
                <a:gd name="connsiteX62" fmla="*/ 431775 w 755979"/>
                <a:gd name="connsiteY62" fmla="*/ 142016 h 285464"/>
                <a:gd name="connsiteX63" fmla="*/ 431775 w 755979"/>
                <a:gd name="connsiteY63" fmla="*/ 226651 h 285464"/>
                <a:gd name="connsiteX64" fmla="*/ 448990 w 755979"/>
                <a:gd name="connsiteY64" fmla="*/ 249603 h 285464"/>
                <a:gd name="connsiteX65" fmla="*/ 476245 w 755979"/>
                <a:gd name="connsiteY65" fmla="*/ 258209 h 285464"/>
                <a:gd name="connsiteX66" fmla="*/ 513553 w 755979"/>
                <a:gd name="connsiteY66" fmla="*/ 240995 h 285464"/>
                <a:gd name="connsiteX67" fmla="*/ 526457 w 755979"/>
                <a:gd name="connsiteY67" fmla="*/ 193657 h 285464"/>
                <a:gd name="connsiteX68" fmla="*/ 526457 w 755979"/>
                <a:gd name="connsiteY68" fmla="*/ 187919 h 285464"/>
                <a:gd name="connsiteX69" fmla="*/ 718685 w 755979"/>
                <a:gd name="connsiteY69" fmla="*/ 229519 h 285464"/>
                <a:gd name="connsiteX70" fmla="*/ 710078 w 755979"/>
                <a:gd name="connsiteY70" fmla="*/ 210871 h 285464"/>
                <a:gd name="connsiteX71" fmla="*/ 675648 w 755979"/>
                <a:gd name="connsiteY71" fmla="*/ 197961 h 285464"/>
                <a:gd name="connsiteX72" fmla="*/ 622571 w 755979"/>
                <a:gd name="connsiteY72" fmla="*/ 176443 h 285464"/>
                <a:gd name="connsiteX73" fmla="*/ 605356 w 755979"/>
                <a:gd name="connsiteY73" fmla="*/ 140581 h 285464"/>
                <a:gd name="connsiteX74" fmla="*/ 625436 w 755979"/>
                <a:gd name="connsiteY74" fmla="*/ 100415 h 285464"/>
                <a:gd name="connsiteX75" fmla="*/ 678513 w 755979"/>
                <a:gd name="connsiteY75" fmla="*/ 83201 h 285464"/>
                <a:gd name="connsiteX76" fmla="*/ 733021 w 755979"/>
                <a:gd name="connsiteY76" fmla="*/ 100415 h 285464"/>
                <a:gd name="connsiteX77" fmla="*/ 751668 w 755979"/>
                <a:gd name="connsiteY77" fmla="*/ 143451 h 285464"/>
                <a:gd name="connsiteX78" fmla="*/ 751668 w 755979"/>
                <a:gd name="connsiteY78" fmla="*/ 144884 h 285464"/>
                <a:gd name="connsiteX79" fmla="*/ 717239 w 755979"/>
                <a:gd name="connsiteY79" fmla="*/ 144884 h 285464"/>
                <a:gd name="connsiteX80" fmla="*/ 707199 w 755979"/>
                <a:gd name="connsiteY80" fmla="*/ 121932 h 285464"/>
                <a:gd name="connsiteX81" fmla="*/ 678513 w 755979"/>
                <a:gd name="connsiteY81" fmla="*/ 111891 h 285464"/>
                <a:gd name="connsiteX82" fmla="*/ 649826 w 755979"/>
                <a:gd name="connsiteY82" fmla="*/ 120498 h 285464"/>
                <a:gd name="connsiteX83" fmla="*/ 641218 w 755979"/>
                <a:gd name="connsiteY83" fmla="*/ 140581 h 285464"/>
                <a:gd name="connsiteX84" fmla="*/ 649826 w 755979"/>
                <a:gd name="connsiteY84" fmla="*/ 159229 h 285464"/>
                <a:gd name="connsiteX85" fmla="*/ 682823 w 755979"/>
                <a:gd name="connsiteY85" fmla="*/ 170705 h 285464"/>
                <a:gd name="connsiteX86" fmla="*/ 737332 w 755979"/>
                <a:gd name="connsiteY86" fmla="*/ 192222 h 285464"/>
                <a:gd name="connsiteX87" fmla="*/ 755979 w 755979"/>
                <a:gd name="connsiteY87" fmla="*/ 228086 h 285464"/>
                <a:gd name="connsiteX88" fmla="*/ 734454 w 755979"/>
                <a:gd name="connsiteY88" fmla="*/ 269685 h 285464"/>
                <a:gd name="connsiteX89" fmla="*/ 679944 w 755979"/>
                <a:gd name="connsiteY89" fmla="*/ 285465 h 285464"/>
                <a:gd name="connsiteX90" fmla="*/ 621139 w 755979"/>
                <a:gd name="connsiteY90" fmla="*/ 266816 h 285464"/>
                <a:gd name="connsiteX91" fmla="*/ 601045 w 755979"/>
                <a:gd name="connsiteY91" fmla="*/ 222347 h 285464"/>
                <a:gd name="connsiteX92" fmla="*/ 601045 w 755979"/>
                <a:gd name="connsiteY92" fmla="*/ 220912 h 285464"/>
                <a:gd name="connsiteX93" fmla="*/ 635475 w 755979"/>
                <a:gd name="connsiteY93" fmla="*/ 220912 h 285464"/>
                <a:gd name="connsiteX94" fmla="*/ 649826 w 755979"/>
                <a:gd name="connsiteY94" fmla="*/ 248168 h 285464"/>
                <a:gd name="connsiteX95" fmla="*/ 679944 w 755979"/>
                <a:gd name="connsiteY95" fmla="*/ 256775 h 285464"/>
                <a:gd name="connsiteX96" fmla="*/ 710078 w 755979"/>
                <a:gd name="connsiteY96" fmla="*/ 249603 h 285464"/>
                <a:gd name="connsiteX97" fmla="*/ 718685 w 755979"/>
                <a:gd name="connsiteY97" fmla="*/ 229519 h 28546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755979" h="285464">
                  <a:moveTo>
                    <a:pt x="35862" y="252472"/>
                  </a:moveTo>
                  <a:lnTo>
                    <a:pt x="159230" y="252472"/>
                  </a:lnTo>
                  <a:lnTo>
                    <a:pt x="159230" y="281161"/>
                  </a:lnTo>
                  <a:lnTo>
                    <a:pt x="0" y="281161"/>
                  </a:lnTo>
                  <a:lnTo>
                    <a:pt x="0" y="18648"/>
                  </a:lnTo>
                  <a:lnTo>
                    <a:pt x="35862" y="18648"/>
                  </a:lnTo>
                  <a:lnTo>
                    <a:pt x="35862" y="252472"/>
                  </a:lnTo>
                  <a:close/>
                  <a:moveTo>
                    <a:pt x="312718" y="281161"/>
                  </a:moveTo>
                  <a:cubicBezTo>
                    <a:pt x="311286" y="275422"/>
                    <a:pt x="311286" y="269685"/>
                    <a:pt x="309853" y="265381"/>
                  </a:cubicBezTo>
                  <a:cubicBezTo>
                    <a:pt x="309853" y="261079"/>
                    <a:pt x="308407" y="256775"/>
                    <a:pt x="308407" y="252472"/>
                  </a:cubicBezTo>
                  <a:cubicBezTo>
                    <a:pt x="301246" y="262513"/>
                    <a:pt x="292639" y="269685"/>
                    <a:pt x="282599" y="275424"/>
                  </a:cubicBezTo>
                  <a:cubicBezTo>
                    <a:pt x="272545" y="281161"/>
                    <a:pt x="261073" y="285465"/>
                    <a:pt x="248169" y="285465"/>
                  </a:cubicBezTo>
                  <a:cubicBezTo>
                    <a:pt x="228076" y="285465"/>
                    <a:pt x="212307" y="279726"/>
                    <a:pt x="202267" y="269685"/>
                  </a:cubicBezTo>
                  <a:cubicBezTo>
                    <a:pt x="192214" y="259644"/>
                    <a:pt x="186485" y="245299"/>
                    <a:pt x="186485" y="226651"/>
                  </a:cubicBezTo>
                  <a:cubicBezTo>
                    <a:pt x="186485" y="208002"/>
                    <a:pt x="193660" y="193657"/>
                    <a:pt x="209429" y="183616"/>
                  </a:cubicBezTo>
                  <a:cubicBezTo>
                    <a:pt x="223779" y="173574"/>
                    <a:pt x="245291" y="167837"/>
                    <a:pt x="271113" y="167837"/>
                  </a:cubicBezTo>
                  <a:lnTo>
                    <a:pt x="309853" y="167837"/>
                  </a:lnTo>
                  <a:lnTo>
                    <a:pt x="309853" y="147753"/>
                  </a:lnTo>
                  <a:cubicBezTo>
                    <a:pt x="309853" y="136277"/>
                    <a:pt x="306975" y="127671"/>
                    <a:pt x="299814" y="120498"/>
                  </a:cubicBezTo>
                  <a:cubicBezTo>
                    <a:pt x="292639" y="113326"/>
                    <a:pt x="282599" y="110456"/>
                    <a:pt x="269681" y="110456"/>
                  </a:cubicBezTo>
                  <a:cubicBezTo>
                    <a:pt x="258209" y="110456"/>
                    <a:pt x="249601" y="113326"/>
                    <a:pt x="242426" y="119063"/>
                  </a:cubicBezTo>
                  <a:cubicBezTo>
                    <a:pt x="235251" y="124801"/>
                    <a:pt x="232386" y="131973"/>
                    <a:pt x="232386" y="139147"/>
                  </a:cubicBezTo>
                  <a:lnTo>
                    <a:pt x="196524" y="139147"/>
                  </a:lnTo>
                  <a:lnTo>
                    <a:pt x="196524" y="137712"/>
                  </a:lnTo>
                  <a:cubicBezTo>
                    <a:pt x="195092" y="123367"/>
                    <a:pt x="202267" y="110456"/>
                    <a:pt x="216604" y="98981"/>
                  </a:cubicBezTo>
                  <a:cubicBezTo>
                    <a:pt x="230954" y="87505"/>
                    <a:pt x="249601" y="81766"/>
                    <a:pt x="271113" y="81766"/>
                  </a:cubicBezTo>
                  <a:cubicBezTo>
                    <a:pt x="292639" y="81766"/>
                    <a:pt x="311286" y="87505"/>
                    <a:pt x="324190" y="98981"/>
                  </a:cubicBezTo>
                  <a:cubicBezTo>
                    <a:pt x="337108" y="110456"/>
                    <a:pt x="344283" y="126236"/>
                    <a:pt x="344283" y="147753"/>
                  </a:cubicBezTo>
                  <a:lnTo>
                    <a:pt x="344283" y="240995"/>
                  </a:lnTo>
                  <a:cubicBezTo>
                    <a:pt x="344283" y="248168"/>
                    <a:pt x="344283" y="255340"/>
                    <a:pt x="345715" y="261078"/>
                  </a:cubicBezTo>
                  <a:cubicBezTo>
                    <a:pt x="347148" y="268250"/>
                    <a:pt x="347148" y="273989"/>
                    <a:pt x="350012" y="279728"/>
                  </a:cubicBezTo>
                  <a:lnTo>
                    <a:pt x="312718" y="279728"/>
                  </a:lnTo>
                  <a:lnTo>
                    <a:pt x="312718" y="281161"/>
                  </a:lnTo>
                  <a:close/>
                  <a:moveTo>
                    <a:pt x="253898" y="255340"/>
                  </a:moveTo>
                  <a:cubicBezTo>
                    <a:pt x="266816" y="255340"/>
                    <a:pt x="278288" y="252472"/>
                    <a:pt x="288328" y="245299"/>
                  </a:cubicBezTo>
                  <a:cubicBezTo>
                    <a:pt x="298367" y="238127"/>
                    <a:pt x="305543" y="230954"/>
                    <a:pt x="308407" y="222347"/>
                  </a:cubicBezTo>
                  <a:lnTo>
                    <a:pt x="308407" y="190789"/>
                  </a:lnTo>
                  <a:lnTo>
                    <a:pt x="268248" y="190789"/>
                  </a:lnTo>
                  <a:cubicBezTo>
                    <a:pt x="253898" y="190789"/>
                    <a:pt x="242426" y="193657"/>
                    <a:pt x="233819" y="200830"/>
                  </a:cubicBezTo>
                  <a:cubicBezTo>
                    <a:pt x="225211" y="208002"/>
                    <a:pt x="220915" y="216610"/>
                    <a:pt x="220915" y="226651"/>
                  </a:cubicBezTo>
                  <a:cubicBezTo>
                    <a:pt x="220915" y="235258"/>
                    <a:pt x="223779" y="242430"/>
                    <a:pt x="229522" y="246733"/>
                  </a:cubicBezTo>
                  <a:cubicBezTo>
                    <a:pt x="235251" y="252472"/>
                    <a:pt x="243858" y="255340"/>
                    <a:pt x="253898" y="255340"/>
                  </a:cubicBezTo>
                  <a:close/>
                  <a:moveTo>
                    <a:pt x="562319" y="190789"/>
                  </a:moveTo>
                  <a:cubicBezTo>
                    <a:pt x="562319" y="219478"/>
                    <a:pt x="555144" y="240995"/>
                    <a:pt x="542240" y="258209"/>
                  </a:cubicBezTo>
                  <a:cubicBezTo>
                    <a:pt x="529322" y="275424"/>
                    <a:pt x="510675" y="284030"/>
                    <a:pt x="486284" y="284030"/>
                  </a:cubicBezTo>
                  <a:cubicBezTo>
                    <a:pt x="473380" y="284030"/>
                    <a:pt x="461909" y="281161"/>
                    <a:pt x="453301" y="276857"/>
                  </a:cubicBezTo>
                  <a:cubicBezTo>
                    <a:pt x="443262" y="272554"/>
                    <a:pt x="436086" y="263948"/>
                    <a:pt x="430343" y="255340"/>
                  </a:cubicBezTo>
                  <a:lnTo>
                    <a:pt x="426047" y="281161"/>
                  </a:lnTo>
                  <a:lnTo>
                    <a:pt x="397346" y="281161"/>
                  </a:lnTo>
                  <a:lnTo>
                    <a:pt x="397346" y="0"/>
                  </a:lnTo>
                  <a:lnTo>
                    <a:pt x="433222" y="0"/>
                  </a:lnTo>
                  <a:lnTo>
                    <a:pt x="433222" y="109022"/>
                  </a:lnTo>
                  <a:cubicBezTo>
                    <a:pt x="438951" y="100415"/>
                    <a:pt x="447558" y="93243"/>
                    <a:pt x="456166" y="88939"/>
                  </a:cubicBezTo>
                  <a:cubicBezTo>
                    <a:pt x="464773" y="84635"/>
                    <a:pt x="476245" y="81766"/>
                    <a:pt x="487731" y="81766"/>
                  </a:cubicBezTo>
                  <a:cubicBezTo>
                    <a:pt x="512107" y="81766"/>
                    <a:pt x="530754" y="91807"/>
                    <a:pt x="543672" y="110456"/>
                  </a:cubicBezTo>
                  <a:cubicBezTo>
                    <a:pt x="556576" y="129104"/>
                    <a:pt x="563751" y="154925"/>
                    <a:pt x="563751" y="186485"/>
                  </a:cubicBezTo>
                  <a:lnTo>
                    <a:pt x="563751" y="190789"/>
                  </a:lnTo>
                  <a:lnTo>
                    <a:pt x="562319" y="190789"/>
                  </a:lnTo>
                  <a:close/>
                  <a:moveTo>
                    <a:pt x="526457" y="187919"/>
                  </a:moveTo>
                  <a:cubicBezTo>
                    <a:pt x="526457" y="164966"/>
                    <a:pt x="522146" y="147753"/>
                    <a:pt x="513553" y="133408"/>
                  </a:cubicBezTo>
                  <a:cubicBezTo>
                    <a:pt x="504946" y="119063"/>
                    <a:pt x="493460" y="111891"/>
                    <a:pt x="476245" y="111891"/>
                  </a:cubicBezTo>
                  <a:cubicBezTo>
                    <a:pt x="464773" y="111891"/>
                    <a:pt x="456166" y="114760"/>
                    <a:pt x="448990" y="120498"/>
                  </a:cubicBezTo>
                  <a:cubicBezTo>
                    <a:pt x="441815" y="126236"/>
                    <a:pt x="436086" y="133408"/>
                    <a:pt x="431775" y="142016"/>
                  </a:cubicBezTo>
                  <a:lnTo>
                    <a:pt x="431775" y="226651"/>
                  </a:lnTo>
                  <a:cubicBezTo>
                    <a:pt x="436086" y="236692"/>
                    <a:pt x="441815" y="243864"/>
                    <a:pt x="448990" y="249603"/>
                  </a:cubicBezTo>
                  <a:cubicBezTo>
                    <a:pt x="456166" y="255340"/>
                    <a:pt x="466205" y="258209"/>
                    <a:pt x="476245" y="258209"/>
                  </a:cubicBezTo>
                  <a:cubicBezTo>
                    <a:pt x="493460" y="258209"/>
                    <a:pt x="504946" y="252472"/>
                    <a:pt x="513553" y="240995"/>
                  </a:cubicBezTo>
                  <a:cubicBezTo>
                    <a:pt x="522146" y="229519"/>
                    <a:pt x="526457" y="213740"/>
                    <a:pt x="526457" y="193657"/>
                  </a:cubicBezTo>
                  <a:lnTo>
                    <a:pt x="526457" y="187919"/>
                  </a:lnTo>
                  <a:close/>
                  <a:moveTo>
                    <a:pt x="718685" y="229519"/>
                  </a:moveTo>
                  <a:cubicBezTo>
                    <a:pt x="718685" y="222347"/>
                    <a:pt x="715806" y="215175"/>
                    <a:pt x="710078" y="210871"/>
                  </a:cubicBezTo>
                  <a:cubicBezTo>
                    <a:pt x="704335" y="206567"/>
                    <a:pt x="692863" y="200830"/>
                    <a:pt x="675648" y="197961"/>
                  </a:cubicBezTo>
                  <a:cubicBezTo>
                    <a:pt x="652690" y="192222"/>
                    <a:pt x="634043" y="186485"/>
                    <a:pt x="622571" y="176443"/>
                  </a:cubicBezTo>
                  <a:cubicBezTo>
                    <a:pt x="611099" y="167837"/>
                    <a:pt x="605356" y="154925"/>
                    <a:pt x="605356" y="140581"/>
                  </a:cubicBezTo>
                  <a:cubicBezTo>
                    <a:pt x="605356" y="124801"/>
                    <a:pt x="612532" y="111891"/>
                    <a:pt x="625436" y="100415"/>
                  </a:cubicBezTo>
                  <a:cubicBezTo>
                    <a:pt x="638354" y="88939"/>
                    <a:pt x="657001" y="83201"/>
                    <a:pt x="678513" y="83201"/>
                  </a:cubicBezTo>
                  <a:cubicBezTo>
                    <a:pt x="701470" y="83201"/>
                    <a:pt x="718685" y="88939"/>
                    <a:pt x="733021" y="100415"/>
                  </a:cubicBezTo>
                  <a:cubicBezTo>
                    <a:pt x="745939" y="111891"/>
                    <a:pt x="753101" y="126236"/>
                    <a:pt x="751668" y="143451"/>
                  </a:cubicBezTo>
                  <a:lnTo>
                    <a:pt x="751668" y="144884"/>
                  </a:lnTo>
                  <a:lnTo>
                    <a:pt x="717239" y="144884"/>
                  </a:lnTo>
                  <a:cubicBezTo>
                    <a:pt x="717239" y="136277"/>
                    <a:pt x="712942" y="129104"/>
                    <a:pt x="707199" y="121932"/>
                  </a:cubicBezTo>
                  <a:cubicBezTo>
                    <a:pt x="700024" y="114760"/>
                    <a:pt x="689984" y="111891"/>
                    <a:pt x="678513" y="111891"/>
                  </a:cubicBezTo>
                  <a:cubicBezTo>
                    <a:pt x="665608" y="111891"/>
                    <a:pt x="657001" y="114760"/>
                    <a:pt x="649826" y="120498"/>
                  </a:cubicBezTo>
                  <a:cubicBezTo>
                    <a:pt x="644083" y="126236"/>
                    <a:pt x="641218" y="131975"/>
                    <a:pt x="641218" y="140581"/>
                  </a:cubicBezTo>
                  <a:cubicBezTo>
                    <a:pt x="641218" y="147753"/>
                    <a:pt x="644083" y="154925"/>
                    <a:pt x="649826" y="159229"/>
                  </a:cubicBezTo>
                  <a:cubicBezTo>
                    <a:pt x="655555" y="163533"/>
                    <a:pt x="665608" y="167837"/>
                    <a:pt x="682823" y="170705"/>
                  </a:cubicBezTo>
                  <a:cubicBezTo>
                    <a:pt x="707199" y="176444"/>
                    <a:pt x="725846" y="183616"/>
                    <a:pt x="737332" y="192222"/>
                  </a:cubicBezTo>
                  <a:cubicBezTo>
                    <a:pt x="748804" y="200830"/>
                    <a:pt x="755979" y="213740"/>
                    <a:pt x="755979" y="228086"/>
                  </a:cubicBezTo>
                  <a:cubicBezTo>
                    <a:pt x="755979" y="245299"/>
                    <a:pt x="748804" y="259644"/>
                    <a:pt x="734454" y="269685"/>
                  </a:cubicBezTo>
                  <a:cubicBezTo>
                    <a:pt x="720117" y="279726"/>
                    <a:pt x="702902" y="285465"/>
                    <a:pt x="679944" y="285465"/>
                  </a:cubicBezTo>
                  <a:cubicBezTo>
                    <a:pt x="655569" y="285465"/>
                    <a:pt x="635475" y="279726"/>
                    <a:pt x="621139" y="266816"/>
                  </a:cubicBezTo>
                  <a:cubicBezTo>
                    <a:pt x="606789" y="253905"/>
                    <a:pt x="599613" y="239560"/>
                    <a:pt x="601045" y="222347"/>
                  </a:cubicBezTo>
                  <a:lnTo>
                    <a:pt x="601045" y="220912"/>
                  </a:lnTo>
                  <a:lnTo>
                    <a:pt x="635475" y="220912"/>
                  </a:lnTo>
                  <a:cubicBezTo>
                    <a:pt x="635475" y="233823"/>
                    <a:pt x="641218" y="242430"/>
                    <a:pt x="649826" y="248168"/>
                  </a:cubicBezTo>
                  <a:cubicBezTo>
                    <a:pt x="658433" y="253905"/>
                    <a:pt x="668473" y="256775"/>
                    <a:pt x="679944" y="256775"/>
                  </a:cubicBezTo>
                  <a:cubicBezTo>
                    <a:pt x="692863" y="256775"/>
                    <a:pt x="702902" y="253907"/>
                    <a:pt x="710078" y="249603"/>
                  </a:cubicBezTo>
                  <a:cubicBezTo>
                    <a:pt x="714374" y="243864"/>
                    <a:pt x="718685" y="236692"/>
                    <a:pt x="718685" y="229519"/>
                  </a:cubicBez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  <p:sp>
          <p:nvSpPr>
            <p:cNvPr id="18" name="Полилиния: фигура 17">
              <a:extLst>
                <a:ext uri="{FF2B5EF4-FFF2-40B4-BE49-F238E27FC236}">
                  <a16:creationId xmlns:a16="http://schemas.microsoft.com/office/drawing/2014/main" id="{CF04CB8A-8524-4626-91DB-A4CCB47A085C}"/>
                </a:ext>
              </a:extLst>
            </p:cNvPr>
            <p:cNvSpPr/>
            <p:nvPr/>
          </p:nvSpPr>
          <p:spPr>
            <a:xfrm>
              <a:off x="1447975" y="1300681"/>
              <a:ext cx="3558981" cy="612528"/>
            </a:xfrm>
            <a:custGeom>
              <a:avLst/>
              <a:gdLst>
                <a:gd name="connsiteX0" fmla="*/ 35862 w 3558981"/>
                <a:gd name="connsiteY0" fmla="*/ 582404 h 612528"/>
                <a:gd name="connsiteX1" fmla="*/ 3523120 w 3558981"/>
                <a:gd name="connsiteY1" fmla="*/ 582404 h 612528"/>
                <a:gd name="connsiteX2" fmla="*/ 3523120 w 3558981"/>
                <a:gd name="connsiteY2" fmla="*/ 27256 h 612528"/>
                <a:gd name="connsiteX3" fmla="*/ 35862 w 3558981"/>
                <a:gd name="connsiteY3" fmla="*/ 27256 h 612528"/>
                <a:gd name="connsiteX4" fmla="*/ 35862 w 3558981"/>
                <a:gd name="connsiteY4" fmla="*/ 582404 h 612528"/>
                <a:gd name="connsiteX5" fmla="*/ 0 w 3558981"/>
                <a:gd name="connsiteY5" fmla="*/ 0 h 612528"/>
                <a:gd name="connsiteX6" fmla="*/ 3558982 w 3558981"/>
                <a:gd name="connsiteY6" fmla="*/ 0 h 612528"/>
                <a:gd name="connsiteX7" fmla="*/ 3558982 w 3558981"/>
                <a:gd name="connsiteY7" fmla="*/ 612529 h 612528"/>
                <a:gd name="connsiteX8" fmla="*/ 0 w 3558981"/>
                <a:gd name="connsiteY8" fmla="*/ 612529 h 612528"/>
                <a:gd name="connsiteX9" fmla="*/ 0 w 3558981"/>
                <a:gd name="connsiteY9" fmla="*/ 0 h 6125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558981" h="612528">
                  <a:moveTo>
                    <a:pt x="35862" y="582404"/>
                  </a:moveTo>
                  <a:lnTo>
                    <a:pt x="3523120" y="582404"/>
                  </a:lnTo>
                  <a:lnTo>
                    <a:pt x="3523120" y="27256"/>
                  </a:lnTo>
                  <a:lnTo>
                    <a:pt x="35862" y="27256"/>
                  </a:lnTo>
                  <a:lnTo>
                    <a:pt x="35862" y="582404"/>
                  </a:lnTo>
                  <a:close/>
                  <a:moveTo>
                    <a:pt x="0" y="0"/>
                  </a:moveTo>
                  <a:lnTo>
                    <a:pt x="3558982" y="0"/>
                  </a:lnTo>
                  <a:lnTo>
                    <a:pt x="3558982" y="612529"/>
                  </a:lnTo>
                  <a:lnTo>
                    <a:pt x="0" y="612529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1402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0D0D0D"/>
                </a:solidFill>
                <a:effectLst/>
                <a:uLnTx/>
                <a:uFillTx/>
                <a:latin typeface="Akrobat" panose="00000600000000000000" pitchFamily="50" charset="-52"/>
                <a:ea typeface="+mn-ea"/>
                <a:cs typeface="+mn-cs"/>
              </a:endParaRPr>
            </a:p>
          </p:txBody>
        </p:sp>
      </p:grpSp>
      <p:cxnSp>
        <p:nvCxnSpPr>
          <p:cNvPr id="135" name="Прямая соединительная линия 134">
            <a:extLst>
              <a:ext uri="{FF2B5EF4-FFF2-40B4-BE49-F238E27FC236}">
                <a16:creationId xmlns:a16="http://schemas.microsoft.com/office/drawing/2014/main" id="{007EF1C9-9F44-4E24-89A9-384E31A92FEB}"/>
              </a:ext>
            </a:extLst>
          </p:cNvPr>
          <p:cNvCxnSpPr>
            <a:cxnSpLocks/>
          </p:cNvCxnSpPr>
          <p:nvPr/>
        </p:nvCxnSpPr>
        <p:spPr>
          <a:xfrm flipH="1">
            <a:off x="0" y="2289411"/>
            <a:ext cx="12163281" cy="0"/>
          </a:xfrm>
          <a:prstGeom prst="line">
            <a:avLst/>
          </a:prstGeom>
          <a:ln w="28575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Группа 219">
            <a:extLst>
              <a:ext uri="{FF2B5EF4-FFF2-40B4-BE49-F238E27FC236}">
                <a16:creationId xmlns:a16="http://schemas.microsoft.com/office/drawing/2014/main" id="{0796AFC0-7ECB-4364-BC63-8D25B0291180}"/>
              </a:ext>
            </a:extLst>
          </p:cNvPr>
          <p:cNvGrpSpPr/>
          <p:nvPr/>
        </p:nvGrpSpPr>
        <p:grpSpPr>
          <a:xfrm>
            <a:off x="3674687" y="1650455"/>
            <a:ext cx="4842626" cy="4089322"/>
            <a:chOff x="13322364" y="1650455"/>
            <a:chExt cx="4842626" cy="4089322"/>
          </a:xfrm>
        </p:grpSpPr>
        <p:sp>
          <p:nvSpPr>
            <p:cNvPr id="221" name="Shape_фон">
              <a:extLst>
                <a:ext uri="{FF2B5EF4-FFF2-40B4-BE49-F238E27FC236}">
                  <a16:creationId xmlns:a16="http://schemas.microsoft.com/office/drawing/2014/main" id="{94EFDFE5-E52D-4C3B-BB8C-6598B3E6D446}"/>
                </a:ext>
              </a:extLst>
            </p:cNvPr>
            <p:cNvSpPr/>
            <p:nvPr/>
          </p:nvSpPr>
          <p:spPr>
            <a:xfrm>
              <a:off x="13429880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22" name="Группа 221">
              <a:extLst>
                <a:ext uri="{FF2B5EF4-FFF2-40B4-BE49-F238E27FC236}">
                  <a16:creationId xmlns:a16="http://schemas.microsoft.com/office/drawing/2014/main" id="{BCE0E40B-B206-4C79-A95D-36D77862C24D}"/>
                </a:ext>
              </a:extLst>
            </p:cNvPr>
            <p:cNvGrpSpPr/>
            <p:nvPr/>
          </p:nvGrpSpPr>
          <p:grpSpPr>
            <a:xfrm>
              <a:off x="13322364" y="2932470"/>
              <a:ext cx="4842626" cy="2697854"/>
              <a:chOff x="12405115" y="-203962"/>
              <a:chExt cx="2936181" cy="1635763"/>
            </a:xfrm>
          </p:grpSpPr>
          <p:grpSp>
            <p:nvGrpSpPr>
              <p:cNvPr id="226" name="Группа 225">
                <a:extLst>
                  <a:ext uri="{FF2B5EF4-FFF2-40B4-BE49-F238E27FC236}">
                    <a16:creationId xmlns:a16="http://schemas.microsoft.com/office/drawing/2014/main" id="{99EB6BC0-012E-4540-911A-6E451CD693A3}"/>
                  </a:ext>
                </a:extLst>
              </p:cNvPr>
              <p:cNvGrpSpPr/>
              <p:nvPr/>
            </p:nvGrpSpPr>
            <p:grpSpPr>
              <a:xfrm>
                <a:off x="13182398" y="1187530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77" name="Rounded Rectangle">
                  <a:extLst>
                    <a:ext uri="{FF2B5EF4-FFF2-40B4-BE49-F238E27FC236}">
                      <a16:creationId xmlns:a16="http://schemas.microsoft.com/office/drawing/2014/main" id="{4FE4EE03-7F84-4BA1-80E2-AA1C5FA42781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8" name="Motion design">
                  <a:extLst>
                    <a:ext uri="{FF2B5EF4-FFF2-40B4-BE49-F238E27FC236}">
                      <a16:creationId xmlns:a16="http://schemas.microsoft.com/office/drawing/2014/main" id="{088196CC-DD71-4845-B18B-B548AE088EF6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Банковские карты</a:t>
                  </a:r>
                </a:p>
              </p:txBody>
            </p:sp>
            <p:sp>
              <p:nvSpPr>
                <p:cNvPr id="279" name="Circle">
                  <a:extLst>
                    <a:ext uri="{FF2B5EF4-FFF2-40B4-BE49-F238E27FC236}">
                      <a16:creationId xmlns:a16="http://schemas.microsoft.com/office/drawing/2014/main" id="{1F0FE0B8-21CD-4C74-967A-9A3FED51E679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7" name="Группа 226">
                <a:extLst>
                  <a:ext uri="{FF2B5EF4-FFF2-40B4-BE49-F238E27FC236}">
                    <a16:creationId xmlns:a16="http://schemas.microsoft.com/office/drawing/2014/main" id="{82E42D87-B76A-4BD1-B84B-4EC2FD63CBD2}"/>
                  </a:ext>
                </a:extLst>
              </p:cNvPr>
              <p:cNvGrpSpPr/>
              <p:nvPr/>
            </p:nvGrpSpPr>
            <p:grpSpPr>
              <a:xfrm>
                <a:off x="12405115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73" name="Rounded Rectangle">
                  <a:extLst>
                    <a:ext uri="{FF2B5EF4-FFF2-40B4-BE49-F238E27FC236}">
                      <a16:creationId xmlns:a16="http://schemas.microsoft.com/office/drawing/2014/main" id="{FB6FE9AE-39B2-4FB1-B22A-7E76A6BEBDE8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4" name="Motion design">
                  <a:extLst>
                    <a:ext uri="{FF2B5EF4-FFF2-40B4-BE49-F238E27FC236}">
                      <a16:creationId xmlns:a16="http://schemas.microsoft.com/office/drawing/2014/main" id="{9B03D081-E806-4482-856C-21A11797E163}"/>
                    </a:ext>
                  </a:extLst>
                </p:cNvPr>
                <p:cNvSpPr txBox="1"/>
                <p:nvPr/>
              </p:nvSpPr>
              <p:spPr>
                <a:xfrm>
                  <a:off x="7434554" y="1759087"/>
                  <a:ext cx="3978692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Объекты недвижимости</a:t>
                  </a:r>
                </a:p>
              </p:txBody>
            </p:sp>
            <p:sp>
              <p:nvSpPr>
                <p:cNvPr id="275" name="Circle">
                  <a:extLst>
                    <a:ext uri="{FF2B5EF4-FFF2-40B4-BE49-F238E27FC236}">
                      <a16:creationId xmlns:a16="http://schemas.microsoft.com/office/drawing/2014/main" id="{360C9778-4AB2-4A5E-A0D5-37AC3C5E46D0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8" name="Группа 227">
                <a:extLst>
                  <a:ext uri="{FF2B5EF4-FFF2-40B4-BE49-F238E27FC236}">
                    <a16:creationId xmlns:a16="http://schemas.microsoft.com/office/drawing/2014/main" id="{ED10A478-8D7F-4973-9FF1-14D75C729D32}"/>
                  </a:ext>
                </a:extLst>
              </p:cNvPr>
              <p:cNvGrpSpPr/>
              <p:nvPr/>
            </p:nvGrpSpPr>
            <p:grpSpPr>
              <a:xfrm>
                <a:off x="12405115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9" name="Rounded Rectangle">
                  <a:extLst>
                    <a:ext uri="{FF2B5EF4-FFF2-40B4-BE49-F238E27FC236}">
                      <a16:creationId xmlns:a16="http://schemas.microsoft.com/office/drawing/2014/main" id="{004C9391-120F-46B2-BE8E-0D1C2FA3BB30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70" name="Motion design">
                  <a:extLst>
                    <a:ext uri="{FF2B5EF4-FFF2-40B4-BE49-F238E27FC236}">
                      <a16:creationId xmlns:a16="http://schemas.microsoft.com/office/drawing/2014/main" id="{7210689D-1ED7-4A7F-B3BF-EE3E5F8832E1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Авто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71" name="Circle">
                  <a:extLst>
                    <a:ext uri="{FF2B5EF4-FFF2-40B4-BE49-F238E27FC236}">
                      <a16:creationId xmlns:a16="http://schemas.microsoft.com/office/drawing/2014/main" id="{1281A0C9-C07C-4660-AD85-9CDEA8DF1881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29" name="Группа 228">
                <a:extLst>
                  <a:ext uri="{FF2B5EF4-FFF2-40B4-BE49-F238E27FC236}">
                    <a16:creationId xmlns:a16="http://schemas.microsoft.com/office/drawing/2014/main" id="{B9BFE39D-5F34-43CC-8A61-D28E003B46A1}"/>
                  </a:ext>
                </a:extLst>
              </p:cNvPr>
              <p:cNvGrpSpPr/>
              <p:nvPr/>
            </p:nvGrpSpPr>
            <p:grpSpPr>
              <a:xfrm>
                <a:off x="12405115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5" name="Rounded Rectangle">
                  <a:extLst>
                    <a:ext uri="{FF2B5EF4-FFF2-40B4-BE49-F238E27FC236}">
                      <a16:creationId xmlns:a16="http://schemas.microsoft.com/office/drawing/2014/main" id="{CBF129E7-E81C-43DA-B2A3-5E112267BE8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6" name="Motion design">
                  <a:extLst>
                    <a:ext uri="{FF2B5EF4-FFF2-40B4-BE49-F238E27FC236}">
                      <a16:creationId xmlns:a16="http://schemas.microsoft.com/office/drawing/2014/main" id="{AC1108D1-7EC0-4FC2-80D8-B5F56E675466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огласия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67" name="Circle">
                  <a:extLst>
                    <a:ext uri="{FF2B5EF4-FFF2-40B4-BE49-F238E27FC236}">
                      <a16:creationId xmlns:a16="http://schemas.microsoft.com/office/drawing/2014/main" id="{CD1AA220-3A77-4B4B-82C4-D52B6320CAFF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0" name="Группа 229">
                <a:extLst>
                  <a:ext uri="{FF2B5EF4-FFF2-40B4-BE49-F238E27FC236}">
                    <a16:creationId xmlns:a16="http://schemas.microsoft.com/office/drawing/2014/main" id="{A087BA5A-E170-4F81-B62C-D1104A2AF622}"/>
                  </a:ext>
                </a:extLst>
              </p:cNvPr>
              <p:cNvGrpSpPr/>
              <p:nvPr/>
            </p:nvGrpSpPr>
            <p:grpSpPr>
              <a:xfrm>
                <a:off x="12405115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61" name="Rounded Rectangle">
                  <a:extLst>
                    <a:ext uri="{FF2B5EF4-FFF2-40B4-BE49-F238E27FC236}">
                      <a16:creationId xmlns:a16="http://schemas.microsoft.com/office/drawing/2014/main" id="{2AE3574F-787C-495B-BE30-FDBD75E9C43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62" name="Motion design">
                  <a:extLst>
                    <a:ext uri="{FF2B5EF4-FFF2-40B4-BE49-F238E27FC236}">
                      <a16:creationId xmlns:a16="http://schemas.microsoft.com/office/drawing/2014/main" id="{683B6215-03CA-44FF-A9D2-AA00880A97D0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вязи</a:t>
                  </a:r>
                </a:p>
              </p:txBody>
            </p:sp>
            <p:sp>
              <p:nvSpPr>
                <p:cNvPr id="263" name="Circle">
                  <a:extLst>
                    <a:ext uri="{FF2B5EF4-FFF2-40B4-BE49-F238E27FC236}">
                      <a16:creationId xmlns:a16="http://schemas.microsoft.com/office/drawing/2014/main" id="{87DCF0FD-1A5F-46F2-A163-F7212D73AD0A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1" name="Группа 230">
                <a:extLst>
                  <a:ext uri="{FF2B5EF4-FFF2-40B4-BE49-F238E27FC236}">
                    <a16:creationId xmlns:a16="http://schemas.microsoft.com/office/drawing/2014/main" id="{30B4A5D0-D6DC-4C97-9328-622FB1740408}"/>
                  </a:ext>
                </a:extLst>
              </p:cNvPr>
              <p:cNvGrpSpPr/>
              <p:nvPr/>
            </p:nvGrpSpPr>
            <p:grpSpPr>
              <a:xfrm>
                <a:off x="12405115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57" name="Rounded Rectangle">
                  <a:extLst>
                    <a:ext uri="{FF2B5EF4-FFF2-40B4-BE49-F238E27FC236}">
                      <a16:creationId xmlns:a16="http://schemas.microsoft.com/office/drawing/2014/main" id="{3CC7F427-C1E0-48C6-904A-035DD41E2F3A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8" name="Motion design">
                  <a:extLst>
                    <a:ext uri="{FF2B5EF4-FFF2-40B4-BE49-F238E27FC236}">
                      <a16:creationId xmlns:a16="http://schemas.microsoft.com/office/drawing/2014/main" id="{D3EF9CCE-7E1F-4353-A5E6-180C3EF1D3D7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ерсональные данные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59" name="Circle">
                  <a:extLst>
                    <a:ext uri="{FF2B5EF4-FFF2-40B4-BE49-F238E27FC236}">
                      <a16:creationId xmlns:a16="http://schemas.microsoft.com/office/drawing/2014/main" id="{E0D80DB3-08B9-4842-A8C7-32CD5527AA1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tx1">
                    <a:lumMod val="75000"/>
                    <a:lumOff val="25000"/>
                  </a:schemeClr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2" name="Группа 231">
                <a:extLst>
                  <a:ext uri="{FF2B5EF4-FFF2-40B4-BE49-F238E27FC236}">
                    <a16:creationId xmlns:a16="http://schemas.microsoft.com/office/drawing/2014/main" id="{70C159D6-04F5-4A15-B032-035B0F391606}"/>
                  </a:ext>
                </a:extLst>
              </p:cNvPr>
              <p:cNvGrpSpPr/>
              <p:nvPr/>
            </p:nvGrpSpPr>
            <p:grpSpPr>
              <a:xfrm>
                <a:off x="13884628" y="909231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53" name="Rounded Rectangle">
                  <a:extLst>
                    <a:ext uri="{FF2B5EF4-FFF2-40B4-BE49-F238E27FC236}">
                      <a16:creationId xmlns:a16="http://schemas.microsoft.com/office/drawing/2014/main" id="{E10A6411-77A0-4508-93D3-3E143EEB18C2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4" name="Motion design">
                  <a:extLst>
                    <a:ext uri="{FF2B5EF4-FFF2-40B4-BE49-F238E27FC236}">
                      <a16:creationId xmlns:a16="http://schemas.microsoft.com/office/drawing/2014/main" id="{F5E46C85-6342-4BC2-A210-00C9A88176CB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Услуги</a:t>
                  </a:r>
                </a:p>
              </p:txBody>
            </p:sp>
            <p:sp>
              <p:nvSpPr>
                <p:cNvPr id="255" name="Circle">
                  <a:extLst>
                    <a:ext uri="{FF2B5EF4-FFF2-40B4-BE49-F238E27FC236}">
                      <a16:creationId xmlns:a16="http://schemas.microsoft.com/office/drawing/2014/main" id="{F875CCBF-3E8C-463B-838B-FFED30013637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3" name="Группа 232">
                <a:extLst>
                  <a:ext uri="{FF2B5EF4-FFF2-40B4-BE49-F238E27FC236}">
                    <a16:creationId xmlns:a16="http://schemas.microsoft.com/office/drawing/2014/main" id="{447081C2-7255-4BB5-88AF-4CA13E099B20}"/>
                  </a:ext>
                </a:extLst>
              </p:cNvPr>
              <p:cNvGrpSpPr/>
              <p:nvPr/>
            </p:nvGrpSpPr>
            <p:grpSpPr>
              <a:xfrm>
                <a:off x="13884628" y="630933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9" name="Rounded Rectangle">
                  <a:extLst>
                    <a:ext uri="{FF2B5EF4-FFF2-40B4-BE49-F238E27FC236}">
                      <a16:creationId xmlns:a16="http://schemas.microsoft.com/office/drawing/2014/main" id="{CED7F8F5-1A40-4FE4-AD44-C634B3F1C0AB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50" name="Motion design">
                  <a:extLst>
                    <a:ext uri="{FF2B5EF4-FFF2-40B4-BE49-F238E27FC236}">
                      <a16:creationId xmlns:a16="http://schemas.microsoft.com/office/drawing/2014/main" id="{867C55AB-5870-41DA-A511-35B0E8184B15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родукт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51" name="Circle">
                  <a:extLst>
                    <a:ext uri="{FF2B5EF4-FFF2-40B4-BE49-F238E27FC236}">
                      <a16:creationId xmlns:a16="http://schemas.microsoft.com/office/drawing/2014/main" id="{E18C9CFC-BBCF-4FC7-8EC5-88AFFABAA49C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4" name="Группа 233">
                <a:extLst>
                  <a:ext uri="{FF2B5EF4-FFF2-40B4-BE49-F238E27FC236}">
                    <a16:creationId xmlns:a16="http://schemas.microsoft.com/office/drawing/2014/main" id="{D29171DC-041C-4EE7-B0B9-78B142BD2B0A}"/>
                  </a:ext>
                </a:extLst>
              </p:cNvPr>
              <p:cNvGrpSpPr/>
              <p:nvPr/>
            </p:nvGrpSpPr>
            <p:grpSpPr>
              <a:xfrm>
                <a:off x="13884628" y="352635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5" name="Rounded Rectangle">
                  <a:extLst>
                    <a:ext uri="{FF2B5EF4-FFF2-40B4-BE49-F238E27FC236}">
                      <a16:creationId xmlns:a16="http://schemas.microsoft.com/office/drawing/2014/main" id="{267D6B49-63E8-47CF-82B6-E77BE0E47F44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46" name="Motion design">
                  <a:extLst>
                    <a:ext uri="{FF2B5EF4-FFF2-40B4-BE49-F238E27FC236}">
                      <a16:creationId xmlns:a16="http://schemas.microsoft.com/office/drawing/2014/main" id="{BE129D72-39A2-4AD0-94DF-678CB8FF9FFC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Договор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47" name="Circle">
                  <a:extLst>
                    <a:ext uri="{FF2B5EF4-FFF2-40B4-BE49-F238E27FC236}">
                      <a16:creationId xmlns:a16="http://schemas.microsoft.com/office/drawing/2014/main" id="{88F24CEE-785F-40A9-992A-D5F78C638EA8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5" name="Группа 234">
                <a:extLst>
                  <a:ext uri="{FF2B5EF4-FFF2-40B4-BE49-F238E27FC236}">
                    <a16:creationId xmlns:a16="http://schemas.microsoft.com/office/drawing/2014/main" id="{60AD3632-36AD-4F8F-946C-2CEFD9B5F5DB}"/>
                  </a:ext>
                </a:extLst>
              </p:cNvPr>
              <p:cNvGrpSpPr/>
              <p:nvPr/>
            </p:nvGrpSpPr>
            <p:grpSpPr>
              <a:xfrm>
                <a:off x="13884628" y="74337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41" name="Rounded Rectangle">
                  <a:extLst>
                    <a:ext uri="{FF2B5EF4-FFF2-40B4-BE49-F238E27FC236}">
                      <a16:creationId xmlns:a16="http://schemas.microsoft.com/office/drawing/2014/main" id="{84CC6D44-39BC-46D9-A931-6A19153CFD3C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42" name="Motion design">
                  <a:extLst>
                    <a:ext uri="{FF2B5EF4-FFF2-40B4-BE49-F238E27FC236}">
                      <a16:creationId xmlns:a16="http://schemas.microsoft.com/office/drawing/2014/main" id="{0B8FB14E-F2E5-4896-B6D8-4A2683F5A376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Полисы</a:t>
                  </a:r>
                  <a:endPara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endParaRPr>
                </a:p>
              </p:txBody>
            </p:sp>
            <p:sp>
              <p:nvSpPr>
                <p:cNvPr id="243" name="Circle">
                  <a:extLst>
                    <a:ext uri="{FF2B5EF4-FFF2-40B4-BE49-F238E27FC236}">
                      <a16:creationId xmlns:a16="http://schemas.microsoft.com/office/drawing/2014/main" id="{F769AF53-03AD-4967-B615-9E536D5DC2E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  <p:grpSp>
            <p:nvGrpSpPr>
              <p:cNvPr id="236" name="Группа 235">
                <a:extLst>
                  <a:ext uri="{FF2B5EF4-FFF2-40B4-BE49-F238E27FC236}">
                    <a16:creationId xmlns:a16="http://schemas.microsoft.com/office/drawing/2014/main" id="{9555FB3C-D375-4DA7-9607-4893DBAF0233}"/>
                  </a:ext>
                </a:extLst>
              </p:cNvPr>
              <p:cNvGrpSpPr/>
              <p:nvPr/>
            </p:nvGrpSpPr>
            <p:grpSpPr>
              <a:xfrm>
                <a:off x="13884628" y="-203962"/>
                <a:ext cx="1456668" cy="244271"/>
                <a:chOff x="6510195" y="1556711"/>
                <a:chExt cx="5051622" cy="847113"/>
              </a:xfrm>
            </p:grpSpPr>
            <p:sp>
              <p:nvSpPr>
                <p:cNvPr id="237" name="Rounded Rectangle">
                  <a:extLst>
                    <a:ext uri="{FF2B5EF4-FFF2-40B4-BE49-F238E27FC236}">
                      <a16:creationId xmlns:a16="http://schemas.microsoft.com/office/drawing/2014/main" id="{DABCF4DB-CCAD-48C7-8C69-B5CEEA57BB30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5051622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38" name="Motion design">
                  <a:extLst>
                    <a:ext uri="{FF2B5EF4-FFF2-40B4-BE49-F238E27FC236}">
                      <a16:creationId xmlns:a16="http://schemas.microsoft.com/office/drawing/2014/main" id="{453CFF0E-4CE2-46A7-A60F-F0F0FEA8F785}"/>
                    </a:ext>
                  </a:extLst>
                </p:cNvPr>
                <p:cNvSpPr txBox="1"/>
                <p:nvPr/>
              </p:nvSpPr>
              <p:spPr>
                <a:xfrm>
                  <a:off x="7434558" y="1759087"/>
                  <a:ext cx="3691420" cy="421188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ru-RU" sz="1100" dirty="0">
                      <a:solidFill>
                        <a:srgbClr val="0D0D0D"/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</a:rPr>
                    <a:t>Сим-карты</a:t>
                  </a:r>
                </a:p>
              </p:txBody>
            </p:sp>
            <p:sp>
              <p:nvSpPr>
                <p:cNvPr id="239" name="Circle">
                  <a:extLst>
                    <a:ext uri="{FF2B5EF4-FFF2-40B4-BE49-F238E27FC236}">
                      <a16:creationId xmlns:a16="http://schemas.microsoft.com/office/drawing/2014/main" id="{18207035-9A70-47ED-A8E2-A66899845141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23" name="Группа 222">
              <a:extLst>
                <a:ext uri="{FF2B5EF4-FFF2-40B4-BE49-F238E27FC236}">
                  <a16:creationId xmlns:a16="http://schemas.microsoft.com/office/drawing/2014/main" id="{705388E5-364B-4E1A-9A63-616C6A1BA13C}"/>
                </a:ext>
              </a:extLst>
            </p:cNvPr>
            <p:cNvGrpSpPr/>
            <p:nvPr/>
          </p:nvGrpSpPr>
          <p:grpSpPr>
            <a:xfrm>
              <a:off x="14617497" y="1650455"/>
              <a:ext cx="2252360" cy="1143115"/>
              <a:chOff x="1225283" y="1717853"/>
              <a:chExt cx="2252360" cy="1143115"/>
            </a:xfrm>
          </p:grpSpPr>
          <p:sp>
            <p:nvSpPr>
              <p:cNvPr id="224" name="Shape_фон">
                <a:extLst>
                  <a:ext uri="{FF2B5EF4-FFF2-40B4-BE49-F238E27FC236}">
                    <a16:creationId xmlns:a16="http://schemas.microsoft.com/office/drawing/2014/main" id="{736354FF-7A3B-40F0-A4D0-894A8366F4F2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225" name="Motion design">
                <a:extLst>
                  <a:ext uri="{FF2B5EF4-FFF2-40B4-BE49-F238E27FC236}">
                    <a16:creationId xmlns:a16="http://schemas.microsoft.com/office/drawing/2014/main" id="{DB2527CB-AF1A-4F75-AB25-C63785D3CBCE}"/>
                  </a:ext>
                </a:extLst>
              </p:cNvPr>
              <p:cNvSpPr txBox="1"/>
              <p:nvPr/>
            </p:nvSpPr>
            <p:spPr>
              <a:xfrm>
                <a:off x="1528519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D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Data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</p:grpSp>
      <p:grpSp>
        <p:nvGrpSpPr>
          <p:cNvPr id="281" name="Группа 280">
            <a:extLst>
              <a:ext uri="{FF2B5EF4-FFF2-40B4-BE49-F238E27FC236}">
                <a16:creationId xmlns:a16="http://schemas.microsoft.com/office/drawing/2014/main" id="{5F31FC3A-4F1F-4F3B-9233-1A3A99E8E0C0}"/>
              </a:ext>
            </a:extLst>
          </p:cNvPr>
          <p:cNvGrpSpPr/>
          <p:nvPr/>
        </p:nvGrpSpPr>
        <p:grpSpPr>
          <a:xfrm>
            <a:off x="292407" y="1877436"/>
            <a:ext cx="2764590" cy="2402753"/>
            <a:chOff x="3785721" y="1717852"/>
            <a:chExt cx="4627594" cy="4021923"/>
          </a:xfrm>
        </p:grpSpPr>
        <p:sp>
          <p:nvSpPr>
            <p:cNvPr id="282" name="Shape_фон">
              <a:extLst>
                <a:ext uri="{FF2B5EF4-FFF2-40B4-BE49-F238E27FC236}">
                  <a16:creationId xmlns:a16="http://schemas.microsoft.com/office/drawing/2014/main" id="{DACD0929-F293-4EED-B749-3F0F23C13263}"/>
                </a:ext>
              </a:extLst>
            </p:cNvPr>
            <p:cNvSpPr/>
            <p:nvPr/>
          </p:nvSpPr>
          <p:spPr>
            <a:xfrm>
              <a:off x="3785721" y="2490440"/>
              <a:ext cx="4627594" cy="3249335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283" name="Группа 282">
              <a:extLst>
                <a:ext uri="{FF2B5EF4-FFF2-40B4-BE49-F238E27FC236}">
                  <a16:creationId xmlns:a16="http://schemas.microsoft.com/office/drawing/2014/main" id="{342AAD9E-3A81-4D25-93E6-21376AC34169}"/>
                </a:ext>
              </a:extLst>
            </p:cNvPr>
            <p:cNvGrpSpPr/>
            <p:nvPr/>
          </p:nvGrpSpPr>
          <p:grpSpPr>
            <a:xfrm>
              <a:off x="4955460" y="1717852"/>
              <a:ext cx="2252360" cy="1143115"/>
              <a:chOff x="1225283" y="1717853"/>
              <a:chExt cx="2252360" cy="1143115"/>
            </a:xfrm>
          </p:grpSpPr>
          <p:sp>
            <p:nvSpPr>
              <p:cNvPr id="311" name="Shape_фон">
                <a:extLst>
                  <a:ext uri="{FF2B5EF4-FFF2-40B4-BE49-F238E27FC236}">
                    <a16:creationId xmlns:a16="http://schemas.microsoft.com/office/drawing/2014/main" id="{F688DF97-D10F-400A-A14B-36719219B6A8}"/>
                  </a:ext>
                </a:extLst>
              </p:cNvPr>
              <p:cNvSpPr/>
              <p:nvPr/>
            </p:nvSpPr>
            <p:spPr>
              <a:xfrm>
                <a:off x="1225283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312" name="Motion design">
                <a:extLst>
                  <a:ext uri="{FF2B5EF4-FFF2-40B4-BE49-F238E27FC236}">
                    <a16:creationId xmlns:a16="http://schemas.microsoft.com/office/drawing/2014/main" id="{31DA500A-8F3E-421F-9D9A-79D78EC676F0}"/>
                  </a:ext>
                </a:extLst>
              </p:cNvPr>
              <p:cNvSpPr txBox="1"/>
              <p:nvPr/>
            </p:nvSpPr>
            <p:spPr>
              <a:xfrm>
                <a:off x="1528520" y="1985353"/>
                <a:ext cx="1645888" cy="74701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kumimoji="0" lang="ru-RU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С</a:t>
                </a:r>
                <a:endParaRPr lang="en-US" sz="32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8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Customer</a:t>
                </a:r>
                <a:endPara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284" name="Группа 283">
              <a:extLst>
                <a:ext uri="{FF2B5EF4-FFF2-40B4-BE49-F238E27FC236}">
                  <a16:creationId xmlns:a16="http://schemas.microsoft.com/office/drawing/2014/main" id="{1AC523C6-FA39-46E1-9483-941290F2796A}"/>
                </a:ext>
              </a:extLst>
            </p:cNvPr>
            <p:cNvGrpSpPr/>
            <p:nvPr/>
          </p:nvGrpSpPr>
          <p:grpSpPr>
            <a:xfrm>
              <a:off x="4134678" y="4254926"/>
              <a:ext cx="3873414" cy="1269126"/>
              <a:chOff x="4134678" y="4610689"/>
              <a:chExt cx="3873414" cy="1269126"/>
            </a:xfrm>
          </p:grpSpPr>
          <p:grpSp>
            <p:nvGrpSpPr>
              <p:cNvPr id="303" name="Группа 302">
                <a:extLst>
                  <a:ext uri="{FF2B5EF4-FFF2-40B4-BE49-F238E27FC236}">
                    <a16:creationId xmlns:a16="http://schemas.microsoft.com/office/drawing/2014/main" id="{01429B5B-7ABD-4A1C-BFD4-2217C43C5E19}"/>
                  </a:ext>
                </a:extLst>
              </p:cNvPr>
              <p:cNvGrpSpPr/>
              <p:nvPr/>
            </p:nvGrpSpPr>
            <p:grpSpPr>
              <a:xfrm>
                <a:off x="4149226" y="4863649"/>
                <a:ext cx="3858866" cy="1016166"/>
                <a:chOff x="874457" y="4860615"/>
                <a:chExt cx="3858866" cy="775339"/>
              </a:xfrm>
            </p:grpSpPr>
            <p:sp>
              <p:nvSpPr>
                <p:cNvPr id="309" name="Shape_фон">
                  <a:extLst>
                    <a:ext uri="{FF2B5EF4-FFF2-40B4-BE49-F238E27FC236}">
                      <a16:creationId xmlns:a16="http://schemas.microsoft.com/office/drawing/2014/main" id="{F6B7EF7D-84D9-414D-A9F3-A4B1AE1C855B}"/>
                    </a:ext>
                  </a:extLst>
                </p:cNvPr>
                <p:cNvSpPr/>
                <p:nvPr/>
              </p:nvSpPr>
              <p:spPr>
                <a:xfrm>
                  <a:off x="874457" y="4860615"/>
                  <a:ext cx="3858866" cy="775339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10" name="Описание">
                  <a:extLst>
                    <a:ext uri="{FF2B5EF4-FFF2-40B4-BE49-F238E27FC236}">
                      <a16:creationId xmlns:a16="http://schemas.microsoft.com/office/drawing/2014/main" id="{004D7ABE-FFEE-4D0B-AEC7-70FF33D75580}"/>
                    </a:ext>
                  </a:extLst>
                </p:cNvPr>
                <p:cNvSpPr txBox="1"/>
                <p:nvPr/>
              </p:nvSpPr>
              <p:spPr>
                <a:xfrm>
                  <a:off x="1022396" y="5011216"/>
                  <a:ext cx="2553755" cy="53066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en-US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VIP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мошенник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Зарплатный клиент</a:t>
                  </a:r>
                </a:p>
              </p:txBody>
            </p:sp>
          </p:grpSp>
          <p:grpSp>
            <p:nvGrpSpPr>
              <p:cNvPr id="304" name="Группа 303">
                <a:extLst>
                  <a:ext uri="{FF2B5EF4-FFF2-40B4-BE49-F238E27FC236}">
                    <a16:creationId xmlns:a16="http://schemas.microsoft.com/office/drawing/2014/main" id="{E48FC44B-CD03-44BD-A3ED-1D6170C4AC20}"/>
                  </a:ext>
                </a:extLst>
              </p:cNvPr>
              <p:cNvGrpSpPr/>
              <p:nvPr/>
            </p:nvGrpSpPr>
            <p:grpSpPr>
              <a:xfrm>
                <a:off x="4134678" y="4610689"/>
                <a:ext cx="1563112" cy="377702"/>
                <a:chOff x="6510195" y="1556711"/>
                <a:chExt cx="3505767" cy="847113"/>
              </a:xfrm>
            </p:grpSpPr>
            <p:sp>
              <p:nvSpPr>
                <p:cNvPr id="305" name="Rounded Rectangle">
                  <a:extLst>
                    <a:ext uri="{FF2B5EF4-FFF2-40B4-BE49-F238E27FC236}">
                      <a16:creationId xmlns:a16="http://schemas.microsoft.com/office/drawing/2014/main" id="{16584EC2-40D2-422C-ADD6-F2FA6D992CD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505767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06" name="Motion design">
                  <a:extLst>
                    <a:ext uri="{FF2B5EF4-FFF2-40B4-BE49-F238E27FC236}">
                      <a16:creationId xmlns:a16="http://schemas.microsoft.com/office/drawing/2014/main" id="{85878994-AF91-4804-921A-6EA3B7227AE5}"/>
                    </a:ext>
                  </a:extLst>
                </p:cNvPr>
                <p:cNvSpPr txBox="1"/>
                <p:nvPr/>
              </p:nvSpPr>
              <p:spPr>
                <a:xfrm>
                  <a:off x="7434558" y="1696222"/>
                  <a:ext cx="2052005" cy="546915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Категории</a:t>
                  </a:r>
                </a:p>
              </p:txBody>
            </p:sp>
            <p:sp>
              <p:nvSpPr>
                <p:cNvPr id="307" name="Circle">
                  <a:extLst>
                    <a:ext uri="{FF2B5EF4-FFF2-40B4-BE49-F238E27FC236}">
                      <a16:creationId xmlns:a16="http://schemas.microsoft.com/office/drawing/2014/main" id="{F6D02C49-541A-465E-8E63-4199CA0932C2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5" name="Группа 284">
              <a:extLst>
                <a:ext uri="{FF2B5EF4-FFF2-40B4-BE49-F238E27FC236}">
                  <a16:creationId xmlns:a16="http://schemas.microsoft.com/office/drawing/2014/main" id="{478E3845-32D4-4E7D-9A9A-54FDD6DD6B39}"/>
                </a:ext>
              </a:extLst>
            </p:cNvPr>
            <p:cNvGrpSpPr/>
            <p:nvPr/>
          </p:nvGrpSpPr>
          <p:grpSpPr>
            <a:xfrm>
              <a:off x="4078416" y="2990128"/>
              <a:ext cx="1644476" cy="995996"/>
              <a:chOff x="4078416" y="3265857"/>
              <a:chExt cx="1644476" cy="995996"/>
            </a:xfrm>
          </p:grpSpPr>
          <p:grpSp>
            <p:nvGrpSpPr>
              <p:cNvPr id="295" name="Группа 294">
                <a:extLst>
                  <a:ext uri="{FF2B5EF4-FFF2-40B4-BE49-F238E27FC236}">
                    <a16:creationId xmlns:a16="http://schemas.microsoft.com/office/drawing/2014/main" id="{C0A29DCE-4444-4809-8861-41ABA93E1836}"/>
                  </a:ext>
                </a:extLst>
              </p:cNvPr>
              <p:cNvGrpSpPr/>
              <p:nvPr/>
            </p:nvGrpSpPr>
            <p:grpSpPr>
              <a:xfrm>
                <a:off x="4103519" y="3557839"/>
                <a:ext cx="1594271" cy="704014"/>
                <a:chOff x="874456" y="3607440"/>
                <a:chExt cx="1594271" cy="704014"/>
              </a:xfrm>
            </p:grpSpPr>
            <p:sp>
              <p:nvSpPr>
                <p:cNvPr id="301" name="Shape_фон">
                  <a:extLst>
                    <a:ext uri="{FF2B5EF4-FFF2-40B4-BE49-F238E27FC236}">
                      <a16:creationId xmlns:a16="http://schemas.microsoft.com/office/drawing/2014/main" id="{C1CA63CE-B417-4B2F-BCDD-D88276A73DA6}"/>
                    </a:ext>
                  </a:extLst>
                </p:cNvPr>
                <p:cNvSpPr/>
                <p:nvPr/>
              </p:nvSpPr>
              <p:spPr>
                <a:xfrm>
                  <a:off x="874456" y="3607440"/>
                  <a:ext cx="1594271" cy="704014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302" name="Описание">
                  <a:extLst>
                    <a:ext uri="{FF2B5EF4-FFF2-40B4-BE49-F238E27FC236}">
                      <a16:creationId xmlns:a16="http://schemas.microsoft.com/office/drawing/2014/main" id="{964E45BE-98A6-4D4E-9D5F-C13E3A649ACF}"/>
                    </a:ext>
                  </a:extLst>
                </p:cNvPr>
                <p:cNvSpPr txBox="1"/>
                <p:nvPr/>
              </p:nvSpPr>
              <p:spPr>
                <a:xfrm>
                  <a:off x="939786" y="3715069"/>
                  <a:ext cx="1212740" cy="515182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ФЛ</a:t>
                  </a:r>
                </a:p>
                <a:p>
                  <a:pPr marL="285750" marR="0" lvl="0" indent="-28575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lang="ru-RU" sz="700" dirty="0"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latin typeface="Roboto Light" panose="02000000000000000000" pitchFamily="2" charset="0"/>
                      <a:ea typeface="Roboto Light" panose="02000000000000000000" pitchFamily="2" charset="0"/>
                    </a:rPr>
                    <a:t>ЮЛ</a:t>
                  </a:r>
                  <a:endParaRPr kumimoji="0" lang="ru-RU" sz="7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endParaRPr>
                </a:p>
              </p:txBody>
            </p:sp>
          </p:grpSp>
          <p:grpSp>
            <p:nvGrpSpPr>
              <p:cNvPr id="296" name="Группа 295">
                <a:extLst>
                  <a:ext uri="{FF2B5EF4-FFF2-40B4-BE49-F238E27FC236}">
                    <a16:creationId xmlns:a16="http://schemas.microsoft.com/office/drawing/2014/main" id="{E86F1EBE-83EC-4BD4-BCFC-9AB3C83C2409}"/>
                  </a:ext>
                </a:extLst>
              </p:cNvPr>
              <p:cNvGrpSpPr/>
              <p:nvPr/>
            </p:nvGrpSpPr>
            <p:grpSpPr>
              <a:xfrm>
                <a:off x="4078416" y="3265857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97" name="Rounded Rectangle">
                  <a:extLst>
                    <a:ext uri="{FF2B5EF4-FFF2-40B4-BE49-F238E27FC236}">
                      <a16:creationId xmlns:a16="http://schemas.microsoft.com/office/drawing/2014/main" id="{11EEBFB2-1E7C-4884-9874-07A444179A0F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8" name="Motion design">
                  <a:extLst>
                    <a:ext uri="{FF2B5EF4-FFF2-40B4-BE49-F238E27FC236}">
                      <a16:creationId xmlns:a16="http://schemas.microsoft.com/office/drawing/2014/main" id="{4F512E11-DBD2-478C-92ED-50AAAE536F1C}"/>
                    </a:ext>
                  </a:extLst>
                </p:cNvPr>
                <p:cNvSpPr txBox="1"/>
                <p:nvPr/>
              </p:nvSpPr>
              <p:spPr>
                <a:xfrm>
                  <a:off x="7434558" y="1696217"/>
                  <a:ext cx="2052005" cy="54691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Типы</a:t>
                  </a:r>
                </a:p>
              </p:txBody>
            </p:sp>
            <p:sp>
              <p:nvSpPr>
                <p:cNvPr id="299" name="Circle">
                  <a:extLst>
                    <a:ext uri="{FF2B5EF4-FFF2-40B4-BE49-F238E27FC236}">
                      <a16:creationId xmlns:a16="http://schemas.microsoft.com/office/drawing/2014/main" id="{8BEFC484-525A-4F9B-91BF-36097B8013F6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  <p:grpSp>
          <p:nvGrpSpPr>
            <p:cNvPr id="286" name="Группа 285">
              <a:extLst>
                <a:ext uri="{FF2B5EF4-FFF2-40B4-BE49-F238E27FC236}">
                  <a16:creationId xmlns:a16="http://schemas.microsoft.com/office/drawing/2014/main" id="{D6A973C9-2E00-407E-AFA8-05986A89345E}"/>
                </a:ext>
              </a:extLst>
            </p:cNvPr>
            <p:cNvGrpSpPr/>
            <p:nvPr/>
          </p:nvGrpSpPr>
          <p:grpSpPr>
            <a:xfrm>
              <a:off x="6388516" y="2990128"/>
              <a:ext cx="1644476" cy="1369861"/>
              <a:chOff x="6388516" y="3254948"/>
              <a:chExt cx="1644476" cy="1369861"/>
            </a:xfrm>
          </p:grpSpPr>
          <p:grpSp>
            <p:nvGrpSpPr>
              <p:cNvPr id="287" name="Группа 286">
                <a:extLst>
                  <a:ext uri="{FF2B5EF4-FFF2-40B4-BE49-F238E27FC236}">
                    <a16:creationId xmlns:a16="http://schemas.microsoft.com/office/drawing/2014/main" id="{11D255AB-D808-4400-9E03-C7B5BEFA0CEF}"/>
                  </a:ext>
                </a:extLst>
              </p:cNvPr>
              <p:cNvGrpSpPr/>
              <p:nvPr/>
            </p:nvGrpSpPr>
            <p:grpSpPr>
              <a:xfrm>
                <a:off x="6388516" y="3402454"/>
                <a:ext cx="1644476" cy="1222355"/>
                <a:chOff x="2319503" y="3607439"/>
                <a:chExt cx="1644476" cy="1222355"/>
              </a:xfrm>
            </p:grpSpPr>
            <p:sp>
              <p:nvSpPr>
                <p:cNvPr id="293" name="Shape_фон">
                  <a:extLst>
                    <a:ext uri="{FF2B5EF4-FFF2-40B4-BE49-F238E27FC236}">
                      <a16:creationId xmlns:a16="http://schemas.microsoft.com/office/drawing/2014/main" id="{A3E4C5E9-5A8F-4199-B835-88E331A7B396}"/>
                    </a:ext>
                  </a:extLst>
                </p:cNvPr>
                <p:cNvSpPr/>
                <p:nvPr/>
              </p:nvSpPr>
              <p:spPr>
                <a:xfrm>
                  <a:off x="2319503" y="3607439"/>
                  <a:ext cx="1644476" cy="1222355"/>
                </a:xfrm>
                <a:prstGeom prst="roundRect">
                  <a:avLst>
                    <a:gd name="adj" fmla="val 8571"/>
                  </a:avLst>
                </a:prstGeom>
                <a:solidFill>
                  <a:schemeClr val="bg1"/>
                </a:solidFill>
                <a:ln w="12700" cap="flat">
                  <a:noFill/>
                  <a:prstDash val="solid"/>
                  <a:miter/>
                </a:ln>
                <a:effectLst>
                  <a:outerShdw blurRad="1003300" sx="102000" sy="102000" algn="ctr" rotWithShape="0">
                    <a:schemeClr val="tx1">
                      <a:alpha val="20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ru-RU" sz="6000" b="1" i="0" u="none" strike="noStrike" kern="1200" cap="none" spc="0" normalizeH="0" baseline="0" noProof="0" dirty="0">
                    <a:ln>
                      <a:noFill/>
                    </a:ln>
                    <a:solidFill>
                      <a:schemeClr val="bg2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4" name="Описание">
                  <a:extLst>
                    <a:ext uri="{FF2B5EF4-FFF2-40B4-BE49-F238E27FC236}">
                      <a16:creationId xmlns:a16="http://schemas.microsoft.com/office/drawing/2014/main" id="{0612C925-242C-47F3-8497-12FCBB127AAD}"/>
                    </a:ext>
                  </a:extLst>
                </p:cNvPr>
                <p:cNvSpPr txBox="1"/>
                <p:nvPr/>
              </p:nvSpPr>
              <p:spPr>
                <a:xfrm>
                  <a:off x="2381135" y="3832820"/>
                  <a:ext cx="1557945" cy="875808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Кли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Проспек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Агент</a:t>
                  </a:r>
                </a:p>
                <a:p>
                  <a:pPr marL="285750" marR="0" lvl="0" indent="-285750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>
                      <a:schemeClr val="bg2"/>
                    </a:buClr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r>
                    <a:rPr kumimoji="0" lang="ru-RU" sz="7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>
                          <a:lumMod val="75000"/>
                          <a:lumOff val="25000"/>
                        </a:srgbClr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+mn-cs"/>
                    </a:rPr>
                    <a:t>Сотрудник</a:t>
                  </a:r>
                </a:p>
              </p:txBody>
            </p:sp>
          </p:grpSp>
          <p:grpSp>
            <p:nvGrpSpPr>
              <p:cNvPr id="288" name="Группа 287">
                <a:extLst>
                  <a:ext uri="{FF2B5EF4-FFF2-40B4-BE49-F238E27FC236}">
                    <a16:creationId xmlns:a16="http://schemas.microsoft.com/office/drawing/2014/main" id="{A2693219-A2E8-4B42-9CAA-964E2C2B7F5B}"/>
                  </a:ext>
                </a:extLst>
              </p:cNvPr>
              <p:cNvGrpSpPr/>
              <p:nvPr/>
            </p:nvGrpSpPr>
            <p:grpSpPr>
              <a:xfrm>
                <a:off x="6388516" y="3254948"/>
                <a:ext cx="1644476" cy="377702"/>
                <a:chOff x="6510195" y="1556711"/>
                <a:chExt cx="3688251" cy="847113"/>
              </a:xfrm>
            </p:grpSpPr>
            <p:sp>
              <p:nvSpPr>
                <p:cNvPr id="289" name="Rounded Rectangle">
                  <a:extLst>
                    <a:ext uri="{FF2B5EF4-FFF2-40B4-BE49-F238E27FC236}">
                      <a16:creationId xmlns:a16="http://schemas.microsoft.com/office/drawing/2014/main" id="{095ECF68-B8BC-424E-8ABE-C5C9DB1C04B7}"/>
                    </a:ext>
                  </a:extLst>
                </p:cNvPr>
                <p:cNvSpPr/>
                <p:nvPr/>
              </p:nvSpPr>
              <p:spPr>
                <a:xfrm>
                  <a:off x="6510195" y="1556711"/>
                  <a:ext cx="3688251" cy="847113"/>
                </a:xfrm>
                <a:prstGeom prst="roundRect">
                  <a:avLst>
                    <a:gd name="adj" fmla="val 50000"/>
                  </a:avLst>
                </a:prstGeom>
                <a:solidFill>
                  <a:schemeClr val="bg1"/>
                </a:solidFill>
                <a:ln w="12700" cap="flat">
                  <a:noFill/>
                  <a:prstDash val="dash"/>
                  <a:miter/>
                </a:ln>
                <a:effectLst>
                  <a:outerShdw blurRad="1003300" sx="102000" sy="102000" algn="ctr" rotWithShape="0">
                    <a:schemeClr val="tx1">
                      <a:alpha val="15000"/>
                    </a:schemeClr>
                  </a:outerShdw>
                </a:effectLst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  <p:sp>
              <p:nvSpPr>
                <p:cNvPr id="290" name="Motion design">
                  <a:extLst>
                    <a:ext uri="{FF2B5EF4-FFF2-40B4-BE49-F238E27FC236}">
                      <a16:creationId xmlns:a16="http://schemas.microsoft.com/office/drawing/2014/main" id="{DE1F217D-1AC4-4425-B1D7-23E305A40B2D}"/>
                    </a:ext>
                  </a:extLst>
                </p:cNvPr>
                <p:cNvSpPr txBox="1"/>
                <p:nvPr/>
              </p:nvSpPr>
              <p:spPr>
                <a:xfrm>
                  <a:off x="7434558" y="1696217"/>
                  <a:ext cx="2052005" cy="546916"/>
                </a:xfrm>
                <a:prstGeom prst="rect">
                  <a:avLst/>
                </a:prstGeom>
                <a:ln w="12700">
                  <a:miter lim="400000"/>
                </a:ln>
                <a:extLst>
                  <a:ext uri="{C572A759-6A51-4108-AA02-DFA0A04FC94B}">
  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  </a:ext>
                </a:extLst>
              </p:spPr>
              <p:txBody>
                <a:bodyPr wrap="square" lIns="0" tIns="0" rIns="0" bIns="0" anchor="ctr">
                  <a:spAutoFit/>
                </a:bodyPr>
                <a:lstStyle>
                  <a:lvl1pPr>
                    <a:lnSpc>
                      <a:spcPct val="130000"/>
                    </a:lnSpc>
                    <a:defRPr sz="3000">
                      <a:latin typeface="+mn-lt"/>
                      <a:ea typeface="+mn-ea"/>
                      <a:cs typeface="+mn-cs"/>
                      <a:sym typeface="Poppins SemiBold"/>
                    </a:defRPr>
                  </a:lvl1pPr>
                </a:lstStyle>
                <a:p>
                  <a:pPr marL="0" marR="0" lvl="0" indent="0" algn="ctr" defTabSz="309563" rtl="0" eaLnBrk="1" fontAlgn="auto" latinLnBrk="0" hangingPunct="0">
                    <a:lnSpc>
                      <a:spcPct val="13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8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D0D0D"/>
                      </a:solidFill>
                      <a:effectLst/>
                      <a:uLnTx/>
                      <a:uFillTx/>
                      <a:latin typeface="Roboto Light" panose="02000000000000000000" pitchFamily="2" charset="0"/>
                      <a:ea typeface="Roboto Light" panose="02000000000000000000" pitchFamily="2" charset="0"/>
                      <a:cs typeface="Poppins SemiBold"/>
                      <a:sym typeface="Poppins SemiBold"/>
                    </a:rPr>
                    <a:t>Роли</a:t>
                  </a:r>
                </a:p>
              </p:txBody>
            </p:sp>
            <p:sp>
              <p:nvSpPr>
                <p:cNvPr id="291" name="Circle">
                  <a:extLst>
                    <a:ext uri="{FF2B5EF4-FFF2-40B4-BE49-F238E27FC236}">
                      <a16:creationId xmlns:a16="http://schemas.microsoft.com/office/drawing/2014/main" id="{DCB0248B-00FC-4E1A-8CEA-9243F289705E}"/>
                    </a:ext>
                  </a:extLst>
                </p:cNvPr>
                <p:cNvSpPr/>
                <p:nvPr/>
              </p:nvSpPr>
              <p:spPr>
                <a:xfrm>
                  <a:off x="6636379" y="1662600"/>
                  <a:ext cx="635335" cy="635335"/>
                </a:xfrm>
                <a:prstGeom prst="ellipse">
                  <a:avLst/>
                </a:prstGeom>
                <a:solidFill>
                  <a:schemeClr val="bg2"/>
                </a:solidFill>
                <a:ln w="12700">
                  <a:miter lim="400000"/>
                </a:ln>
              </p:spPr>
              <p:txBody>
                <a:bodyPr lIns="0" tIns="0" rIns="0" bIns="0" anchor="ctr"/>
                <a:lstStyle/>
                <a:p>
                  <a:pPr marL="0" marR="0" lvl="0" indent="0" algn="ctr" defTabSz="309563" rtl="0" eaLnBrk="1" fontAlgn="auto" latinLnBrk="0" hangingPunct="0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 sz="3200">
                      <a:solidFill>
                        <a:srgbClr val="FFFFFF"/>
                      </a:solidFill>
                      <a:latin typeface="Poppins Bold"/>
                      <a:ea typeface="Poppins Bold"/>
                      <a:cs typeface="Poppins Bold"/>
                      <a:sym typeface="Poppins Bold"/>
                    </a:defRPr>
                  </a:pPr>
                  <a:endParaRPr kumimoji="0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endParaRPr>
                </a:p>
              </p:txBody>
            </p:sp>
          </p:grpSp>
        </p:grpSp>
      </p:grpSp>
      <p:grpSp>
        <p:nvGrpSpPr>
          <p:cNvPr id="142" name="Группа 141">
            <a:extLst>
              <a:ext uri="{FF2B5EF4-FFF2-40B4-BE49-F238E27FC236}">
                <a16:creationId xmlns:a16="http://schemas.microsoft.com/office/drawing/2014/main" id="{A6DEB4F5-59C2-4AFC-A649-77628A5BB8A8}"/>
              </a:ext>
            </a:extLst>
          </p:cNvPr>
          <p:cNvGrpSpPr/>
          <p:nvPr/>
        </p:nvGrpSpPr>
        <p:grpSpPr>
          <a:xfrm>
            <a:off x="12780971" y="1650455"/>
            <a:ext cx="4627594" cy="4089322"/>
            <a:chOff x="6957245" y="1650455"/>
            <a:chExt cx="4627594" cy="4089322"/>
          </a:xfrm>
        </p:grpSpPr>
        <p:sp>
          <p:nvSpPr>
            <p:cNvPr id="143" name="Shape_фон">
              <a:extLst>
                <a:ext uri="{FF2B5EF4-FFF2-40B4-BE49-F238E27FC236}">
                  <a16:creationId xmlns:a16="http://schemas.microsoft.com/office/drawing/2014/main" id="{FE41C828-9336-45CD-88D3-36A5CA1D57C7}"/>
                </a:ext>
              </a:extLst>
            </p:cNvPr>
            <p:cNvSpPr/>
            <p:nvPr/>
          </p:nvSpPr>
          <p:spPr>
            <a:xfrm>
              <a:off x="6957245" y="2423043"/>
              <a:ext cx="4627594" cy="3316734"/>
            </a:xfrm>
            <a:prstGeom prst="roundRect">
              <a:avLst>
                <a:gd name="adj" fmla="val 8571"/>
              </a:avLst>
            </a:prstGeom>
            <a:solidFill>
              <a:schemeClr val="bg1"/>
            </a:solidFill>
            <a:ln w="12700" cap="flat">
              <a:noFill/>
              <a:prstDash val="solid"/>
              <a:miter/>
            </a:ln>
            <a:effectLst>
              <a:outerShdw blurRad="1003300" sx="102000" sy="102000" algn="ctr" rotWithShape="0">
                <a:schemeClr val="tx1">
                  <a:alpha val="20000"/>
                </a:schemeClr>
              </a:outerShdw>
            </a:effectLst>
          </p:spPr>
          <p:txBody>
            <a:bodyPr lIns="0" tIns="0" rIns="0" bIns="0" anchor="ctr"/>
            <a:lstStyle/>
            <a:p>
              <a:pPr marL="0" marR="0" lvl="0" indent="0" algn="ctr" defTabSz="309563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60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Roboto" pitchFamily="2" charset="0"/>
                <a:ea typeface="Roboto" pitchFamily="2" charset="0"/>
                <a:cs typeface="Poppins Bold"/>
                <a:sym typeface="Poppins Bold"/>
              </a:endParaRPr>
            </a:p>
          </p:txBody>
        </p:sp>
        <p:grpSp>
          <p:nvGrpSpPr>
            <p:cNvPr id="144" name="Группа 143">
              <a:extLst>
                <a:ext uri="{FF2B5EF4-FFF2-40B4-BE49-F238E27FC236}">
                  <a16:creationId xmlns:a16="http://schemas.microsoft.com/office/drawing/2014/main" id="{8F17CF5A-87F1-455E-A4EF-F6F465EE9AFB}"/>
                </a:ext>
              </a:extLst>
            </p:cNvPr>
            <p:cNvGrpSpPr/>
            <p:nvPr/>
          </p:nvGrpSpPr>
          <p:grpSpPr>
            <a:xfrm>
              <a:off x="8144862" y="1650455"/>
              <a:ext cx="2252360" cy="1143115"/>
              <a:chOff x="8681847" y="1717853"/>
              <a:chExt cx="2252360" cy="1143115"/>
            </a:xfrm>
          </p:grpSpPr>
          <p:sp>
            <p:nvSpPr>
              <p:cNvPr id="183" name="Shape_фон">
                <a:extLst>
                  <a:ext uri="{FF2B5EF4-FFF2-40B4-BE49-F238E27FC236}">
                    <a16:creationId xmlns:a16="http://schemas.microsoft.com/office/drawing/2014/main" id="{D414A569-A999-4EF6-9D2B-32CB93A1A052}"/>
                  </a:ext>
                </a:extLst>
              </p:cNvPr>
              <p:cNvSpPr/>
              <p:nvPr/>
            </p:nvSpPr>
            <p:spPr>
              <a:xfrm>
                <a:off x="8681847" y="1717853"/>
                <a:ext cx="2252360" cy="1143115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algn="ctr" defTabSz="309563" hangingPunct="0">
                  <a:defRPr/>
                </a:pPr>
                <a:endParaRPr kumimoji="0" lang="en-US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84" name="Motion design">
                <a:extLst>
                  <a:ext uri="{FF2B5EF4-FFF2-40B4-BE49-F238E27FC236}">
                    <a16:creationId xmlns:a16="http://schemas.microsoft.com/office/drawing/2014/main" id="{30BAB43C-F8AE-495C-B250-C9803B45A29E}"/>
                  </a:ext>
                </a:extLst>
              </p:cNvPr>
              <p:cNvSpPr txBox="1"/>
              <p:nvPr/>
            </p:nvSpPr>
            <p:spPr>
              <a:xfrm>
                <a:off x="8985083" y="1956699"/>
                <a:ext cx="1645888" cy="804323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algn="ctr" defTabSz="309563" hangingPunct="0">
                  <a:lnSpc>
                    <a:spcPct val="70000"/>
                  </a:lnSpc>
                  <a:defRPr/>
                </a:pPr>
                <a:r>
                  <a:rPr lang="en-US" sz="6000" b="1" dirty="0">
                    <a:solidFill>
                      <a:schemeClr val="bg2"/>
                    </a:solidFill>
                    <a:latin typeface="Roboto" pitchFamily="2" charset="0"/>
                    <a:ea typeface="Roboto" pitchFamily="2" charset="0"/>
                    <a:cs typeface="Poppins Bold"/>
                    <a:sym typeface="Poppins Bold"/>
                  </a:rPr>
                  <a:t>I</a:t>
                </a:r>
                <a:endParaRPr lang="en-US" sz="6000" dirty="0">
                  <a:solidFill>
                    <a:srgbClr val="0D0D0D"/>
                  </a:solidFill>
                  <a:latin typeface="Roboto" pitchFamily="2" charset="0"/>
                  <a:ea typeface="Roboto" pitchFamily="2" charset="0"/>
                  <a:cs typeface="Poppins SemiBold"/>
                </a:endParaRPr>
              </a:p>
              <a:p>
                <a:pPr marL="0" marR="0" lvl="0" indent="0" algn="ctr" defTabSz="309563" rtl="0" eaLnBrk="1" fontAlgn="auto" latinLnBrk="0" hangingPunct="0">
                  <a:lnSpc>
                    <a:spcPct val="70000"/>
                  </a:lnSpc>
                  <a:buClrTx/>
                  <a:buSzTx/>
                  <a:buFontTx/>
                  <a:buNone/>
                  <a:tabLst/>
                  <a:defRPr/>
                </a:pPr>
                <a:r>
                  <a:rPr lang="en-US" sz="1400" b="1" dirty="0">
                    <a:solidFill>
                      <a:srgbClr val="0D0D0D"/>
                    </a:solidFill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</a:rPr>
                  <a:t>Integration</a:t>
                </a:r>
                <a:endPara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D0D0D"/>
                  </a:solidFill>
                  <a:effectLst/>
                  <a:uLnTx/>
                  <a:uFillTx/>
                  <a:latin typeface="Roboto Light" panose="02000000000000000000" pitchFamily="2" charset="0"/>
                  <a:ea typeface="Roboto Light" panose="02000000000000000000" pitchFamily="2" charset="0"/>
                  <a:cs typeface="Poppins SemiBold"/>
                  <a:sym typeface="Poppins SemiBold"/>
                </a:endParaRPr>
              </a:p>
            </p:txBody>
          </p:sp>
        </p:grpSp>
        <p:grpSp>
          <p:nvGrpSpPr>
            <p:cNvPr id="147" name="Группа 146">
              <a:extLst>
                <a:ext uri="{FF2B5EF4-FFF2-40B4-BE49-F238E27FC236}">
                  <a16:creationId xmlns:a16="http://schemas.microsoft.com/office/drawing/2014/main" id="{964D3C27-83C7-4110-9584-5B1C2C177140}"/>
                </a:ext>
              </a:extLst>
            </p:cNvPr>
            <p:cNvGrpSpPr/>
            <p:nvPr/>
          </p:nvGrpSpPr>
          <p:grpSpPr>
            <a:xfrm>
              <a:off x="7028901" y="2996826"/>
              <a:ext cx="2101354" cy="377702"/>
              <a:chOff x="6510195" y="1556711"/>
              <a:chExt cx="4712944" cy="847113"/>
            </a:xfrm>
          </p:grpSpPr>
          <p:sp>
            <p:nvSpPr>
              <p:cNvPr id="179" name="Rounded Rectangle">
                <a:extLst>
                  <a:ext uri="{FF2B5EF4-FFF2-40B4-BE49-F238E27FC236}">
                    <a16:creationId xmlns:a16="http://schemas.microsoft.com/office/drawing/2014/main" id="{7657747C-846D-41B4-AA5A-04AFA1B7F797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4712944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80" name="Motion design">
                <a:extLst>
                  <a:ext uri="{FF2B5EF4-FFF2-40B4-BE49-F238E27FC236}">
                    <a16:creationId xmlns:a16="http://schemas.microsoft.com/office/drawing/2014/main" id="{6624977F-5CD1-422D-9AD4-27325C27FA90}"/>
                  </a:ext>
                </a:extLst>
              </p:cNvPr>
              <p:cNvSpPr txBox="1"/>
              <p:nvPr/>
            </p:nvSpPr>
            <p:spPr>
              <a:xfrm>
                <a:off x="7434557" y="1745056"/>
                <a:ext cx="3691419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Пакет. 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T-1 </a:t>
                </a: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или 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T-2</a:t>
                </a:r>
              </a:p>
            </p:txBody>
          </p:sp>
          <p:sp>
            <p:nvSpPr>
              <p:cNvPr id="181" name="Circle">
                <a:extLst>
                  <a:ext uri="{FF2B5EF4-FFF2-40B4-BE49-F238E27FC236}">
                    <a16:creationId xmlns:a16="http://schemas.microsoft.com/office/drawing/2014/main" id="{BB159031-43E3-4A9D-AE1F-F61EBD3A8D50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tx1">
                  <a:lumMod val="75000"/>
                  <a:lumOff val="25000"/>
                </a:schemeClr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48" name="Группа 147">
              <a:extLst>
                <a:ext uri="{FF2B5EF4-FFF2-40B4-BE49-F238E27FC236}">
                  <a16:creationId xmlns:a16="http://schemas.microsoft.com/office/drawing/2014/main" id="{6F289C01-193A-4FD6-B185-C416F0F972AA}"/>
                </a:ext>
              </a:extLst>
            </p:cNvPr>
            <p:cNvGrpSpPr/>
            <p:nvPr/>
          </p:nvGrpSpPr>
          <p:grpSpPr>
            <a:xfrm>
              <a:off x="9229924" y="2994836"/>
              <a:ext cx="2252360" cy="377702"/>
              <a:chOff x="6510195" y="1556711"/>
              <a:chExt cx="5051622" cy="847113"/>
            </a:xfrm>
          </p:grpSpPr>
          <p:sp>
            <p:nvSpPr>
              <p:cNvPr id="175" name="Rounded Rectangle">
                <a:extLst>
                  <a:ext uri="{FF2B5EF4-FFF2-40B4-BE49-F238E27FC236}">
                    <a16:creationId xmlns:a16="http://schemas.microsoft.com/office/drawing/2014/main" id="{99965F30-09C4-40B7-AED8-24B2D3A7F1B6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76" name="Motion design">
                <a:extLst>
                  <a:ext uri="{FF2B5EF4-FFF2-40B4-BE49-F238E27FC236}">
                    <a16:creationId xmlns:a16="http://schemas.microsoft.com/office/drawing/2014/main" id="{CD5581D6-ADD7-46EC-86C5-24936D2CDAD1}"/>
                  </a:ext>
                </a:extLst>
              </p:cNvPr>
              <p:cNvSpPr txBox="1"/>
              <p:nvPr/>
            </p:nvSpPr>
            <p:spPr>
              <a:xfrm>
                <a:off x="7395624" y="1745055"/>
                <a:ext cx="4127260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синхронный (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SOAP)</a:t>
                </a:r>
              </a:p>
            </p:txBody>
          </p:sp>
          <p:sp>
            <p:nvSpPr>
              <p:cNvPr id="177" name="Circle">
                <a:extLst>
                  <a:ext uri="{FF2B5EF4-FFF2-40B4-BE49-F238E27FC236}">
                    <a16:creationId xmlns:a16="http://schemas.microsoft.com/office/drawing/2014/main" id="{4D94EE0B-44AF-40B0-96C7-9ADC8FC8AE94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49" name="Группа 148">
              <a:extLst>
                <a:ext uri="{FF2B5EF4-FFF2-40B4-BE49-F238E27FC236}">
                  <a16:creationId xmlns:a16="http://schemas.microsoft.com/office/drawing/2014/main" id="{3C4F8830-2C23-4B9A-A6BD-FDF20473B47B}"/>
                </a:ext>
              </a:extLst>
            </p:cNvPr>
            <p:cNvGrpSpPr/>
            <p:nvPr/>
          </p:nvGrpSpPr>
          <p:grpSpPr>
            <a:xfrm>
              <a:off x="9229924" y="3497030"/>
              <a:ext cx="2252360" cy="377702"/>
              <a:chOff x="6510195" y="1556711"/>
              <a:chExt cx="5051622" cy="847113"/>
            </a:xfrm>
          </p:grpSpPr>
          <p:sp>
            <p:nvSpPr>
              <p:cNvPr id="161" name="Rounded Rectangle">
                <a:extLst>
                  <a:ext uri="{FF2B5EF4-FFF2-40B4-BE49-F238E27FC236}">
                    <a16:creationId xmlns:a16="http://schemas.microsoft.com/office/drawing/2014/main" id="{A632A6B8-E11A-44D0-B754-A3921DBD78F1}"/>
                  </a:ext>
                </a:extLst>
              </p:cNvPr>
              <p:cNvSpPr/>
              <p:nvPr/>
            </p:nvSpPr>
            <p:spPr>
              <a:xfrm>
                <a:off x="6510195" y="1556711"/>
                <a:ext cx="5051622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62" name="Motion design">
                <a:extLst>
                  <a:ext uri="{FF2B5EF4-FFF2-40B4-BE49-F238E27FC236}">
                    <a16:creationId xmlns:a16="http://schemas.microsoft.com/office/drawing/2014/main" id="{DAF7FA08-33B8-4217-9AEC-D1027E37E633}"/>
                  </a:ext>
                </a:extLst>
              </p:cNvPr>
              <p:cNvSpPr txBox="1"/>
              <p:nvPr/>
            </p:nvSpPr>
            <p:spPr>
              <a:xfrm>
                <a:off x="7395624" y="1745055"/>
                <a:ext cx="4127260" cy="449259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defTabSz="309563" hangingPunct="0">
                  <a:defRPr/>
                </a:pPr>
                <a:r>
                  <a:rPr lang="ru-RU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Онлайн асинхронный (</a:t>
                </a:r>
                <a:r>
                  <a:rPr lang="en-US" sz="1100" dirty="0">
                    <a:solidFill>
                      <a:srgbClr val="0D0D0D">
                        <a:lumMod val="75000"/>
                        <a:lumOff val="25000"/>
                      </a:srgbClr>
                    </a:solidFill>
                    <a:latin typeface="Roboto Light" panose="02000000000000000000" pitchFamily="2" charset="0"/>
                    <a:ea typeface="Roboto Light" panose="02000000000000000000" pitchFamily="2" charset="0"/>
                  </a:rPr>
                  <a:t>JMS)</a:t>
                </a:r>
              </a:p>
            </p:txBody>
          </p:sp>
          <p:sp>
            <p:nvSpPr>
              <p:cNvPr id="173" name="Circle">
                <a:extLst>
                  <a:ext uri="{FF2B5EF4-FFF2-40B4-BE49-F238E27FC236}">
                    <a16:creationId xmlns:a16="http://schemas.microsoft.com/office/drawing/2014/main" id="{9701A21B-6F63-45A9-B025-F1423E58C75A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50" name="Группа 149">
              <a:extLst>
                <a:ext uri="{FF2B5EF4-FFF2-40B4-BE49-F238E27FC236}">
                  <a16:creationId xmlns:a16="http://schemas.microsoft.com/office/drawing/2014/main" id="{A37674F6-D514-4D2C-9499-ECC1CC6FD931}"/>
                </a:ext>
              </a:extLst>
            </p:cNvPr>
            <p:cNvGrpSpPr/>
            <p:nvPr/>
          </p:nvGrpSpPr>
          <p:grpSpPr>
            <a:xfrm>
              <a:off x="9346982" y="4323029"/>
              <a:ext cx="2038094" cy="902827"/>
              <a:chOff x="8757188" y="4937907"/>
              <a:chExt cx="2038094" cy="902827"/>
            </a:xfrm>
          </p:grpSpPr>
          <p:sp>
            <p:nvSpPr>
              <p:cNvPr id="159" name="Shape_фон">
                <a:extLst>
                  <a:ext uri="{FF2B5EF4-FFF2-40B4-BE49-F238E27FC236}">
                    <a16:creationId xmlns:a16="http://schemas.microsoft.com/office/drawing/2014/main" id="{BB41CBE2-6959-4F83-AE9E-507ADAAECCA7}"/>
                  </a:ext>
                </a:extLst>
              </p:cNvPr>
              <p:cNvSpPr/>
              <p:nvPr/>
            </p:nvSpPr>
            <p:spPr>
              <a:xfrm>
                <a:off x="8757188" y="4937907"/>
                <a:ext cx="2038094" cy="902827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60" name="Описание">
                <a:extLst>
                  <a:ext uri="{FF2B5EF4-FFF2-40B4-BE49-F238E27FC236}">
                    <a16:creationId xmlns:a16="http://schemas.microsoft.com/office/drawing/2014/main" id="{6241D000-077B-4D91-B33A-6F3A4C6116EF}"/>
                  </a:ext>
                </a:extLst>
              </p:cNvPr>
              <p:cNvSpPr txBox="1"/>
              <p:nvPr/>
            </p:nvSpPr>
            <p:spPr>
              <a:xfrm>
                <a:off x="8819512" y="5105106"/>
                <a:ext cx="1800413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(ФНС, Росстат, ЕФРСБ, СПАРК, СМЭВ, РФМ, 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X-</a:t>
                </a:r>
                <a:r>
                  <a:rPr kumimoji="0" lang="en-US" sz="12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Complience</a:t>
                </a:r>
                <a:r>
                  <a:rPr kumimoji="0" lang="en-US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)</a:t>
                </a:r>
              </a:p>
            </p:txBody>
          </p:sp>
        </p:grpSp>
        <p:grpSp>
          <p:nvGrpSpPr>
            <p:cNvPr id="151" name="Группа 150">
              <a:extLst>
                <a:ext uri="{FF2B5EF4-FFF2-40B4-BE49-F238E27FC236}">
                  <a16:creationId xmlns:a16="http://schemas.microsoft.com/office/drawing/2014/main" id="{803D3A55-36F1-4A5C-959D-1AAFD19EB5D8}"/>
                </a:ext>
              </a:extLst>
            </p:cNvPr>
            <p:cNvGrpSpPr/>
            <p:nvPr/>
          </p:nvGrpSpPr>
          <p:grpSpPr>
            <a:xfrm>
              <a:off x="9247312" y="4040930"/>
              <a:ext cx="2237433" cy="377702"/>
              <a:chOff x="6510193" y="1556711"/>
              <a:chExt cx="5018143" cy="847113"/>
            </a:xfrm>
          </p:grpSpPr>
          <p:sp>
            <p:nvSpPr>
              <p:cNvPr id="155" name="Rounded Rectangle">
                <a:extLst>
                  <a:ext uri="{FF2B5EF4-FFF2-40B4-BE49-F238E27FC236}">
                    <a16:creationId xmlns:a16="http://schemas.microsoft.com/office/drawing/2014/main" id="{CF80B324-8F3E-4178-8B6B-05E439460167}"/>
                  </a:ext>
                </a:extLst>
              </p:cNvPr>
              <p:cNvSpPr/>
              <p:nvPr/>
            </p:nvSpPr>
            <p:spPr>
              <a:xfrm>
                <a:off x="6510193" y="1556711"/>
                <a:ext cx="5018143" cy="847113"/>
              </a:xfrm>
              <a:prstGeom prst="roundRect">
                <a:avLst>
                  <a:gd name="adj" fmla="val 50000"/>
                </a:avLst>
              </a:prstGeom>
              <a:solidFill>
                <a:schemeClr val="bg1"/>
              </a:solidFill>
              <a:ln w="12700" cap="flat">
                <a:noFill/>
                <a:prstDash val="dash"/>
                <a:miter/>
              </a:ln>
              <a:effectLst>
                <a:outerShdw blurRad="1003300" sx="102000" sy="102000" algn="ctr" rotWithShape="0">
                  <a:schemeClr val="tx1">
                    <a:alpha val="15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6" name="Motion design">
                <a:extLst>
                  <a:ext uri="{FF2B5EF4-FFF2-40B4-BE49-F238E27FC236}">
                    <a16:creationId xmlns:a16="http://schemas.microsoft.com/office/drawing/2014/main" id="{40925D94-C44A-44CE-87EA-656E906690E3}"/>
                  </a:ext>
                </a:extLst>
              </p:cNvPr>
              <p:cNvSpPr txBox="1"/>
              <p:nvPr/>
            </p:nvSpPr>
            <p:spPr>
              <a:xfrm>
                <a:off x="7434557" y="1724630"/>
                <a:ext cx="3422633" cy="490101"/>
              </a:xfrm>
              <a:prstGeom prst="rect">
                <a:avLst/>
              </a:prstGeom>
              <a:ln w="12700">
                <a:miter lim="400000"/>
              </a:ln>
              <a:extLst>
                <a:ext uri="{C572A759-6A51-4108-AA02-DFA0A04FC94B}">
                  <ma14:wrappingTextBoxFlag xmlns:ma14="http://schemas.microsoft.com/office/mac/drawingml/2011/main" xmlns:a14="http://schemas.microsoft.com/office/drawing/2010/main" xmlns:m="http://schemas.openxmlformats.org/officeDocument/2006/math" xmlns="" val="1"/>
                </a:ext>
              </a:extLst>
            </p:spPr>
            <p:txBody>
              <a:bodyPr wrap="square" lIns="0" tIns="0" rIns="0" bIns="0" anchor="ctr">
                <a:spAutoFit/>
              </a:bodyPr>
              <a:lstStyle>
                <a:lvl1pPr>
                  <a:lnSpc>
                    <a:spcPct val="130000"/>
                  </a:lnSpc>
                  <a:defRPr sz="3000">
                    <a:latin typeface="+mn-lt"/>
                    <a:ea typeface="+mn-ea"/>
                    <a:cs typeface="+mn-cs"/>
                    <a:sym typeface="Poppins SemiBold"/>
                  </a:defRPr>
                </a:lvl1pPr>
              </a:lstStyle>
              <a:p>
                <a:pPr marL="0" marR="0" lvl="0" indent="0" defTabSz="309563" rtl="0" eaLnBrk="1" fontAlgn="auto" latinLnBrk="0" hangingPunct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Poppins SemiBold"/>
                    <a:sym typeface="Poppins SemiBold"/>
                  </a:rPr>
                  <a:t>Внешние источники:</a:t>
                </a:r>
              </a:p>
            </p:txBody>
          </p:sp>
          <p:sp>
            <p:nvSpPr>
              <p:cNvPr id="157" name="Circle">
                <a:extLst>
                  <a:ext uri="{FF2B5EF4-FFF2-40B4-BE49-F238E27FC236}">
                    <a16:creationId xmlns:a16="http://schemas.microsoft.com/office/drawing/2014/main" id="{B69F24B1-F73E-4554-8F54-11409A08DC19}"/>
                  </a:ext>
                </a:extLst>
              </p:cNvPr>
              <p:cNvSpPr/>
              <p:nvPr/>
            </p:nvSpPr>
            <p:spPr>
              <a:xfrm>
                <a:off x="6636379" y="1662600"/>
                <a:ext cx="635335" cy="635335"/>
              </a:xfrm>
              <a:prstGeom prst="ellipse">
                <a:avLst/>
              </a:prstGeom>
              <a:solidFill>
                <a:schemeClr val="bg2"/>
              </a:solidFill>
              <a:ln w="12700">
                <a:miter lim="400000"/>
              </a:ln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3200">
                    <a:solidFill>
                      <a:srgbClr val="FFFFFF"/>
                    </a:solidFill>
                    <a:latin typeface="Poppins Bold"/>
                    <a:ea typeface="Poppins Bold"/>
                    <a:cs typeface="Poppins Bold"/>
                    <a:sym typeface="Poppins Bold"/>
                  </a:defRPr>
                </a:pPr>
                <a:endParaRPr kumimoji="0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</p:grpSp>
        <p:grpSp>
          <p:nvGrpSpPr>
            <p:cNvPr id="152" name="Группа 151">
              <a:extLst>
                <a:ext uri="{FF2B5EF4-FFF2-40B4-BE49-F238E27FC236}">
                  <a16:creationId xmlns:a16="http://schemas.microsoft.com/office/drawing/2014/main" id="{942A2E24-B110-467F-87B6-B9C4AE2F9722}"/>
                </a:ext>
              </a:extLst>
            </p:cNvPr>
            <p:cNvGrpSpPr/>
            <p:nvPr/>
          </p:nvGrpSpPr>
          <p:grpSpPr>
            <a:xfrm>
              <a:off x="7109314" y="3528512"/>
              <a:ext cx="1950895" cy="1697344"/>
              <a:chOff x="8460640" y="4727884"/>
              <a:chExt cx="1950895" cy="1697344"/>
            </a:xfrm>
          </p:grpSpPr>
          <p:sp>
            <p:nvSpPr>
              <p:cNvPr id="153" name="Shape_фон">
                <a:extLst>
                  <a:ext uri="{FF2B5EF4-FFF2-40B4-BE49-F238E27FC236}">
                    <a16:creationId xmlns:a16="http://schemas.microsoft.com/office/drawing/2014/main" id="{48919569-CB85-4B43-AE6B-0E3D85ED21A6}"/>
                  </a:ext>
                </a:extLst>
              </p:cNvPr>
              <p:cNvSpPr/>
              <p:nvPr/>
            </p:nvSpPr>
            <p:spPr>
              <a:xfrm>
                <a:off x="8460640" y="4727884"/>
                <a:ext cx="1950895" cy="1697344"/>
              </a:xfrm>
              <a:prstGeom prst="roundRect">
                <a:avLst>
                  <a:gd name="adj" fmla="val 8571"/>
                </a:avLst>
              </a:prstGeom>
              <a:solidFill>
                <a:schemeClr val="bg1"/>
              </a:solidFill>
              <a:ln w="12700" cap="flat">
                <a:noFill/>
                <a:prstDash val="solid"/>
                <a:miter/>
              </a:ln>
              <a:effectLst>
                <a:outerShdw blurRad="1003300" sx="102000" sy="102000" algn="ctr" rotWithShape="0">
                  <a:schemeClr val="tx1">
                    <a:alpha val="20000"/>
                  </a:schemeClr>
                </a:outerShdw>
              </a:effectLst>
            </p:spPr>
            <p:txBody>
              <a:bodyPr lIns="0" tIns="0" rIns="0" bIns="0" anchor="ctr"/>
              <a:lstStyle/>
              <a:p>
                <a:pPr marL="0" marR="0" lvl="0" indent="0" algn="ctr" defTabSz="309563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60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2"/>
                  </a:solidFill>
                  <a:effectLst/>
                  <a:uLnTx/>
                  <a:uFillTx/>
                  <a:latin typeface="Roboto" pitchFamily="2" charset="0"/>
                  <a:ea typeface="Roboto" pitchFamily="2" charset="0"/>
                  <a:cs typeface="Poppins Bold"/>
                  <a:sym typeface="Poppins Bold"/>
                </a:endParaRPr>
              </a:p>
            </p:txBody>
          </p:sp>
          <p:sp>
            <p:nvSpPr>
              <p:cNvPr id="154" name="Описание">
                <a:extLst>
                  <a:ext uri="{FF2B5EF4-FFF2-40B4-BE49-F238E27FC236}">
                    <a16:creationId xmlns:a16="http://schemas.microsoft.com/office/drawing/2014/main" id="{D4497372-01AA-411A-BB20-71E2206209BB}"/>
                  </a:ext>
                </a:extLst>
              </p:cNvPr>
              <p:cNvSpPr txBox="1"/>
              <p:nvPr/>
            </p:nvSpPr>
            <p:spPr>
              <a:xfrm>
                <a:off x="8684086" y="5253391"/>
                <a:ext cx="1504002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R="0" lvl="0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chemeClr val="bg2"/>
                  </a:buClr>
                  <a:buSzTx/>
                  <a:tabLst/>
                  <a:defRPr/>
                </a:pP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0000"/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Горячий резерв </a:t>
                </a:r>
                <a:r>
                  <a:rPr kumimoji="0" lang="ru-RU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D0D0D">
                        <a:lumMod val="75000"/>
                        <a:lumOff val="25000"/>
                      </a:srgbClr>
                    </a:solidFill>
                    <a:effectLst/>
                    <a:uLnTx/>
                    <a:uFillTx/>
                    <a:latin typeface="Roboto Light" panose="02000000000000000000" pitchFamily="2" charset="0"/>
                    <a:ea typeface="Roboto Light" panose="02000000000000000000" pitchFamily="2" charset="0"/>
                    <a:cs typeface="+mn-cs"/>
                  </a:rPr>
                  <a:t>— интеграция между серверами ЕК</a:t>
                </a:r>
              </a:p>
            </p:txBody>
          </p:sp>
        </p:grpSp>
      </p:grpSp>
      <p:sp>
        <p:nvSpPr>
          <p:cNvPr id="185" name="Заголовок">
            <a:extLst>
              <a:ext uri="{FF2B5EF4-FFF2-40B4-BE49-F238E27FC236}">
                <a16:creationId xmlns:a16="http://schemas.microsoft.com/office/drawing/2014/main" id="{9B61D527-7D73-41B4-9C97-F863123F9E19}"/>
              </a:ext>
            </a:extLst>
          </p:cNvPr>
          <p:cNvSpPr txBox="1"/>
          <p:nvPr/>
        </p:nvSpPr>
        <p:spPr>
          <a:xfrm>
            <a:off x="552786" y="255394"/>
            <a:ext cx="5413661" cy="76944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400" b="1" dirty="0">
                <a:solidFill>
                  <a:srgbClr val="0D0D0D">
                    <a:lumMod val="75000"/>
                    <a:lumOff val="25000"/>
                  </a:srgbClr>
                </a:solidFill>
                <a:latin typeface="Roboto" pitchFamily="2" charset="0"/>
                <a:ea typeface="Roboto" pitchFamily="2" charset="0"/>
              </a:rPr>
              <a:t>Настоящее 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(2015-202</a:t>
            </a:r>
            <a:r>
              <a:rPr lang="en-US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2</a:t>
            </a:r>
            <a:r>
              <a:rPr lang="ru-RU" sz="2800" b="1" dirty="0">
                <a:solidFill>
                  <a:schemeClr val="bg2"/>
                </a:solidFill>
                <a:latin typeface="Roboto" pitchFamily="2" charset="0"/>
                <a:ea typeface="Roboto" pitchFamily="2" charset="0"/>
              </a:rPr>
              <a:t>)</a:t>
            </a:r>
            <a:endParaRPr lang="ru-RU" sz="4400" b="1" dirty="0">
              <a:solidFill>
                <a:schemeClr val="bg2"/>
              </a:solidFill>
              <a:latin typeface="Roboto" pitchFamily="2" charset="0"/>
              <a:ea typeface="Roboto" pitchFamily="2" charset="0"/>
            </a:endParaRPr>
          </a:p>
        </p:txBody>
      </p:sp>
      <p:sp>
        <p:nvSpPr>
          <p:cNvPr id="186" name="Таймлайн">
            <a:extLst>
              <a:ext uri="{FF2B5EF4-FFF2-40B4-BE49-F238E27FC236}">
                <a16:creationId xmlns:a16="http://schemas.microsoft.com/office/drawing/2014/main" id="{B5D6FB4F-DBBF-4B76-B785-666C7863490F}"/>
              </a:ext>
            </a:extLst>
          </p:cNvPr>
          <p:cNvSpPr/>
          <p:nvPr/>
        </p:nvSpPr>
        <p:spPr>
          <a:xfrm>
            <a:off x="635000" y="1145799"/>
            <a:ext cx="10922000" cy="349250"/>
          </a:xfrm>
          <a:prstGeom prst="roundRect">
            <a:avLst>
              <a:gd name="adj" fmla="val 50000"/>
            </a:avLst>
          </a:prstGeom>
          <a:solidFill>
            <a:schemeClr val="bg1">
              <a:alpha val="96000"/>
            </a:schemeClr>
          </a:solidFill>
          <a:ln w="12700" cap="flat">
            <a:noFill/>
            <a:prstDash val="solid"/>
            <a:miter/>
          </a:ln>
          <a:effectLst>
            <a:outerShdw blurRad="1003300" sx="102000" sy="102000" algn="ctr" rotWithShape="0">
              <a:schemeClr val="tx1">
                <a:alpha val="20000"/>
              </a:schemeClr>
            </a:outerShdw>
          </a:effectLst>
        </p:spPr>
        <p:txBody>
          <a:bodyPr lIns="0" tIns="0" rIns="0" bIns="0" anchor="ctr"/>
          <a:lstStyle/>
          <a:p>
            <a:pPr algn="ctr" defTabSz="309563" hangingPunct="0"/>
            <a:endParaRPr sz="1200">
              <a:solidFill>
                <a:srgbClr val="FFFFFF"/>
              </a:solidFill>
              <a:latin typeface="Roboto" pitchFamily="2" charset="0"/>
              <a:ea typeface="Roboto" pitchFamily="2" charset="0"/>
              <a:cs typeface="Poppins Bold"/>
              <a:sym typeface="Poppins Regular"/>
            </a:endParaRPr>
          </a:p>
        </p:txBody>
      </p:sp>
      <p:cxnSp>
        <p:nvCxnSpPr>
          <p:cNvPr id="187" name="Прямая соединительная линия 186">
            <a:extLst>
              <a:ext uri="{FF2B5EF4-FFF2-40B4-BE49-F238E27FC236}">
                <a16:creationId xmlns:a16="http://schemas.microsoft.com/office/drawing/2014/main" id="{FD34F20A-92E8-46E2-A73A-72AA145ABB49}"/>
              </a:ext>
            </a:extLst>
          </p:cNvPr>
          <p:cNvCxnSpPr>
            <a:cxnSpLocks/>
          </p:cNvCxnSpPr>
          <p:nvPr/>
        </p:nvCxnSpPr>
        <p:spPr>
          <a:xfrm>
            <a:off x="196769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8" name="Прямая соединительная линия 187">
            <a:extLst>
              <a:ext uri="{FF2B5EF4-FFF2-40B4-BE49-F238E27FC236}">
                <a16:creationId xmlns:a16="http://schemas.microsoft.com/office/drawing/2014/main" id="{7D67D847-1111-4F86-9A01-5E16A1796951}"/>
              </a:ext>
            </a:extLst>
          </p:cNvPr>
          <p:cNvCxnSpPr>
            <a:cxnSpLocks/>
          </p:cNvCxnSpPr>
          <p:nvPr/>
        </p:nvCxnSpPr>
        <p:spPr>
          <a:xfrm>
            <a:off x="9959629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Прямая соединительная линия 188">
            <a:extLst>
              <a:ext uri="{FF2B5EF4-FFF2-40B4-BE49-F238E27FC236}">
                <a16:creationId xmlns:a16="http://schemas.microsoft.com/office/drawing/2014/main" id="{5E9DC863-84C1-43E1-BC74-0071915AA128}"/>
              </a:ext>
            </a:extLst>
          </p:cNvPr>
          <p:cNvCxnSpPr>
            <a:cxnSpLocks/>
          </p:cNvCxnSpPr>
          <p:nvPr/>
        </p:nvCxnSpPr>
        <p:spPr>
          <a:xfrm>
            <a:off x="7294700" y="1163073"/>
            <a:ext cx="0" cy="314701"/>
          </a:xfrm>
          <a:prstGeom prst="line">
            <a:avLst/>
          </a:prstGeom>
          <a:ln w="28575">
            <a:solidFill>
              <a:schemeClr val="bg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единительная линия 189">
            <a:extLst>
              <a:ext uri="{FF2B5EF4-FFF2-40B4-BE49-F238E27FC236}">
                <a16:creationId xmlns:a16="http://schemas.microsoft.com/office/drawing/2014/main" id="{76F115A6-9A99-4091-9D0E-8504C11A615B}"/>
              </a:ext>
            </a:extLst>
          </p:cNvPr>
          <p:cNvCxnSpPr>
            <a:cxnSpLocks/>
          </p:cNvCxnSpPr>
          <p:nvPr/>
        </p:nvCxnSpPr>
        <p:spPr>
          <a:xfrm>
            <a:off x="4631416" y="1163073"/>
            <a:ext cx="0" cy="314701"/>
          </a:xfrm>
          <a:prstGeom prst="line">
            <a:avLst/>
          </a:prstGeom>
          <a:ln w="28575">
            <a:solidFill>
              <a:schemeClr val="tx1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1" name="Group 2048">
            <a:extLst>
              <a:ext uri="{FF2B5EF4-FFF2-40B4-BE49-F238E27FC236}">
                <a16:creationId xmlns:a16="http://schemas.microsoft.com/office/drawing/2014/main" id="{8DFEC249-08AF-418A-B223-4094AC53B45B}"/>
              </a:ext>
            </a:extLst>
          </p:cNvPr>
          <p:cNvGrpSpPr/>
          <p:nvPr/>
        </p:nvGrpSpPr>
        <p:grpSpPr>
          <a:xfrm rot="16200000">
            <a:off x="8500949" y="1240356"/>
            <a:ext cx="252432" cy="220634"/>
            <a:chOff x="8227651" y="2789818"/>
            <a:chExt cx="252465" cy="220663"/>
          </a:xfrm>
        </p:grpSpPr>
        <p:sp>
          <p:nvSpPr>
            <p:cNvPr id="199" name="Freeform 23">
              <a:extLst>
                <a:ext uri="{FF2B5EF4-FFF2-40B4-BE49-F238E27FC236}">
                  <a16:creationId xmlns:a16="http://schemas.microsoft.com/office/drawing/2014/main" id="{A5EF0090-12B5-4E29-BF7F-3636913DBCE4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273688" y="2791376"/>
              <a:ext cx="125413" cy="217488"/>
            </a:xfrm>
            <a:custGeom>
              <a:avLst/>
              <a:gdLst>
                <a:gd name="T0" fmla="*/ 51 w 79"/>
                <a:gd name="T1" fmla="*/ 0 h 137"/>
                <a:gd name="T2" fmla="*/ 0 w 79"/>
                <a:gd name="T3" fmla="*/ 131 h 137"/>
                <a:gd name="T4" fmla="*/ 45 w 79"/>
                <a:gd name="T5" fmla="*/ 137 h 137"/>
                <a:gd name="T6" fmla="*/ 79 w 79"/>
                <a:gd name="T7" fmla="*/ 48 h 137"/>
                <a:gd name="T8" fmla="*/ 51 w 79"/>
                <a:gd name="T9" fmla="*/ 0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9" h="137">
                  <a:moveTo>
                    <a:pt x="51" y="0"/>
                  </a:moveTo>
                  <a:lnTo>
                    <a:pt x="0" y="131"/>
                  </a:lnTo>
                  <a:lnTo>
                    <a:pt x="45" y="137"/>
                  </a:lnTo>
                  <a:lnTo>
                    <a:pt x="79" y="48"/>
                  </a:lnTo>
                  <a:lnTo>
                    <a:pt x="51" y="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  <p:sp>
          <p:nvSpPr>
            <p:cNvPr id="200" name="Freeform 24">
              <a:extLst>
                <a:ext uri="{FF2B5EF4-FFF2-40B4-BE49-F238E27FC236}">
                  <a16:creationId xmlns:a16="http://schemas.microsoft.com/office/drawing/2014/main" id="{8A452BA6-D466-45E4-AF85-F0C449752D49}"/>
                </a:ext>
              </a:extLst>
            </p:cNvPr>
            <p:cNvSpPr>
              <a:spLocks/>
            </p:cNvSpPr>
            <p:nvPr/>
          </p:nvSpPr>
          <p:spPr bwMode="auto">
            <a:xfrm rot="18000000">
              <a:off x="8321365" y="2851731"/>
              <a:ext cx="220663" cy="96838"/>
            </a:xfrm>
            <a:custGeom>
              <a:avLst/>
              <a:gdLst>
                <a:gd name="T0" fmla="*/ 112 w 139"/>
                <a:gd name="T1" fmla="*/ 12 h 61"/>
                <a:gd name="T2" fmla="*/ 16 w 139"/>
                <a:gd name="T3" fmla="*/ 0 h 61"/>
                <a:gd name="T4" fmla="*/ 0 w 139"/>
                <a:gd name="T5" fmla="*/ 41 h 61"/>
                <a:gd name="T6" fmla="*/ 139 w 139"/>
                <a:gd name="T7" fmla="*/ 61 h 61"/>
                <a:gd name="T8" fmla="*/ 112 w 139"/>
                <a:gd name="T9" fmla="*/ 12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9" h="61">
                  <a:moveTo>
                    <a:pt x="112" y="12"/>
                  </a:moveTo>
                  <a:lnTo>
                    <a:pt x="16" y="0"/>
                  </a:lnTo>
                  <a:lnTo>
                    <a:pt x="0" y="41"/>
                  </a:lnTo>
                  <a:lnTo>
                    <a:pt x="139" y="61"/>
                  </a:lnTo>
                  <a:lnTo>
                    <a:pt x="112" y="12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>
              <a:noFill/>
            </a:ln>
          </p:spPr>
          <p:txBody>
            <a:bodyPr vert="horz" wrap="square" lIns="91428" tIns="45714" rIns="91428" bIns="45714" numCol="1" anchor="t" anchorCtr="0" compatLnSpc="1">
              <a:prstTxWarp prst="textNoShape">
                <a:avLst/>
              </a:prstTxWarp>
            </a:bodyPr>
            <a:lstStyle/>
            <a:p>
              <a:endParaRPr lang="en-US" sz="1600"/>
            </a:p>
          </p:txBody>
        </p:sp>
      </p:grpSp>
    </p:spTree>
    <p:extLst>
      <p:ext uri="{BB962C8B-B14F-4D97-AF65-F5344CB8AC3E}">
        <p14:creationId xmlns:p14="http://schemas.microsoft.com/office/powerpoint/2010/main" val="2855498606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1750">
        <p159:morph option="byObject"/>
      </p:transition>
    </mc:Choice>
    <mc:Fallback xmlns="">
      <p:transition spd="slow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S_SHAPE_LOCK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RIGHTSLIDE_SLIDE_COLLAPSED" val="TRUE"/>
</p:tagLst>
</file>

<file path=ppt/theme/theme1.xml><?xml version="1.0" encoding="utf-8"?>
<a:theme xmlns:a="http://schemas.openxmlformats.org/drawingml/2006/main" name="Тема Office">
  <a:themeElements>
    <a:clrScheme name="HF Labs">
      <a:dk1>
        <a:srgbClr val="0D0D0D"/>
      </a:dk1>
      <a:lt1>
        <a:srgbClr val="FFFFFF"/>
      </a:lt1>
      <a:dk2>
        <a:srgbClr val="F6F6F6"/>
      </a:dk2>
      <a:lt2>
        <a:srgbClr val="EC4741"/>
      </a:lt2>
      <a:accent1>
        <a:srgbClr val="FF725E"/>
      </a:accent1>
      <a:accent2>
        <a:srgbClr val="F37637"/>
      </a:accent2>
      <a:accent3>
        <a:srgbClr val="41B857"/>
      </a:accent3>
      <a:accent4>
        <a:srgbClr val="5169F6"/>
      </a:accent4>
      <a:accent5>
        <a:srgbClr val="F9C344"/>
      </a:accent5>
      <a:accent6>
        <a:srgbClr val="432C9C"/>
      </a:accent6>
      <a:hlink>
        <a:srgbClr val="0C0C0C"/>
      </a:hlink>
      <a:folHlink>
        <a:srgbClr val="0C0C0C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85</TotalTime>
  <Words>1318</Words>
  <Application>Microsoft Office PowerPoint</Application>
  <PresentationFormat>Широкоэкранный</PresentationFormat>
  <Paragraphs>550</Paragraphs>
  <Slides>22</Slides>
  <Notes>1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0" baseType="lpstr">
      <vt:lpstr>Akrobat</vt:lpstr>
      <vt:lpstr>Arial</vt:lpstr>
      <vt:lpstr>Calibri</vt:lpstr>
      <vt:lpstr>Calibri Light</vt:lpstr>
      <vt:lpstr>Poppins Bold</vt:lpstr>
      <vt:lpstr>Roboto</vt:lpstr>
      <vt:lpstr>Roboto Light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HFLabs</dc:creator>
  <cp:lastModifiedBy>HFLabs</cp:lastModifiedBy>
  <cp:revision>90</cp:revision>
  <dcterms:created xsi:type="dcterms:W3CDTF">2023-09-13T13:56:32Z</dcterms:created>
  <dcterms:modified xsi:type="dcterms:W3CDTF">2023-09-16T16:03:09Z</dcterms:modified>
</cp:coreProperties>
</file>